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4"/>
  </p:sldMasterIdLst>
  <p:notesMasterIdLst>
    <p:notesMasterId r:id="rId10"/>
  </p:notesMasterIdLst>
  <p:handoutMasterIdLst>
    <p:handoutMasterId r:id="rId11"/>
  </p:handoutMasterIdLst>
  <p:sldIdLst>
    <p:sldId id="260" r:id="rId5"/>
    <p:sldId id="2147472100" r:id="rId6"/>
    <p:sldId id="2147472111" r:id="rId7"/>
    <p:sldId id="2147472109" r:id="rId8"/>
    <p:sldId id="2147472110" r:id="rId9"/>
  </p:sldIdLst>
  <p:sldSz cx="12192000" cy="6858000"/>
  <p:notesSz cx="6742113" cy="9872663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B87E72E4-F54D-49F7-9BBD-41D82523A818}">
          <p14:sldIdLst>
            <p14:sldId id="260"/>
            <p14:sldId id="2147472100"/>
            <p14:sldId id="2147472111"/>
            <p14:sldId id="2147472109"/>
            <p14:sldId id="214747211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A50021"/>
    <a:srgbClr val="B2B2B2"/>
    <a:srgbClr val="FFFFFF"/>
    <a:srgbClr val="006666"/>
    <a:srgbClr val="D3EDDF"/>
    <a:srgbClr val="D3E0DF"/>
    <a:srgbClr val="008080"/>
    <a:srgbClr val="000200"/>
    <a:srgbClr val="9A8C98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904AF87-EEEE-43E6-BD1D-8D6250BE9CC6}" v="2" dt="2025-11-25T09:03:58.9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57" autoAdjust="0"/>
    <p:restoredTop sz="96230" autoAdjust="0"/>
  </p:normalViewPr>
  <p:slideViewPr>
    <p:cSldViewPr snapToGrid="0">
      <p:cViewPr varScale="1">
        <p:scale>
          <a:sx n="70" d="100"/>
          <a:sy n="70" d="100"/>
        </p:scale>
        <p:origin x="676" y="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3134" y="-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4934" tIns="47467" rIns="94934" bIns="47467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4934" tIns="47467" rIns="94934" bIns="47467" rtlCol="0"/>
          <a:lstStyle>
            <a:lvl1pPr algn="r">
              <a:defRPr sz="1200"/>
            </a:lvl1pPr>
          </a:lstStyle>
          <a:p>
            <a:fld id="{620FE731-46A2-46A5-9AD2-A416FE8CEE67}" type="datetimeFigureOut">
              <a:rPr lang="en-GB" smtClean="0"/>
              <a:t>25/11/2025</a:t>
            </a:fld>
            <a:endParaRPr lang="en-GB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4934" tIns="47467" rIns="94934" bIns="47467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4934" tIns="47467" rIns="94934" bIns="47467" rtlCol="0" anchor="b"/>
          <a:lstStyle>
            <a:lvl1pPr algn="r">
              <a:defRPr sz="1200"/>
            </a:lvl1pPr>
          </a:lstStyle>
          <a:p>
            <a:fld id="{389669B9-D8F4-4B71-AFE9-987693379946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80941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10" userDrawn="1">
          <p15:clr>
            <a:srgbClr val="F26B43"/>
          </p15:clr>
        </p15:guide>
        <p15:guide id="2" pos="2124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4934" tIns="47467" rIns="94934" bIns="47467" rtlCol="0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4934" tIns="47467" rIns="94934" bIns="47467" rtlCol="0"/>
          <a:lstStyle>
            <a:lvl1pPr algn="r">
              <a:defRPr sz="1200"/>
            </a:lvl1pPr>
          </a:lstStyle>
          <a:p>
            <a:fld id="{D84BD0BD-8420-46F9-8257-B8F286606235}" type="datetimeFigureOut">
              <a:rPr lang="it-IT" smtClean="0"/>
              <a:t>25/11/2025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455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4212" y="4751219"/>
            <a:ext cx="5393690" cy="3887361"/>
          </a:xfrm>
          <a:prstGeom prst="rect">
            <a:avLst/>
          </a:prstGeom>
        </p:spPr>
        <p:txBody>
          <a:bodyPr vert="horz" lIns="94934" tIns="47467" rIns="94934" bIns="47467" rtlCol="0"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4934" tIns="47467" rIns="94934" bIns="47467" rtlCol="0" anchor="b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4934" tIns="47467" rIns="94934" bIns="47467" rtlCol="0" anchor="b"/>
          <a:lstStyle>
            <a:lvl1pPr algn="r">
              <a:defRPr sz="1200"/>
            </a:lvl1pPr>
          </a:lstStyle>
          <a:p>
            <a:fld id="{BFD64B0E-3DDE-4A0E-88A9-3A41651A4597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28101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7885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BDDE7-376E-D422-2044-F45FF27C4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D89D88FE-AB12-EF10-A115-69CD7A3DAC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1044AD09-6C86-9A83-28B9-BEF88F30CA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83BFB87-179C-B9BE-5726-08D74ABEDB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8929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910F8A-1B23-FF7C-5B60-BE2DD3A410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83487AEF-F0E2-F602-9B60-6DC06C28C1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A09A2156-FCC2-9AC5-4F1E-6ED0751770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AB93876-706F-E016-2B9A-2B4AF93C15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5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32975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5">
            <a:extLst>
              <a:ext uri="{FF2B5EF4-FFF2-40B4-BE49-F238E27FC236}">
                <a16:creationId xmlns:a16="http://schemas.microsoft.com/office/drawing/2014/main" id="{81AFC227-A263-3713-E7FF-F6F258ABF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3E96D194-5205-F83D-5A85-E366C5DFC883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2" name="Segnaposto testo 8">
            <a:extLst>
              <a:ext uri="{FF2B5EF4-FFF2-40B4-BE49-F238E27FC236}">
                <a16:creationId xmlns:a16="http://schemas.microsoft.com/office/drawing/2014/main" id="{360C2225-F572-A256-65D5-084449B1797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3" name="Segnaposto testo 8">
            <a:extLst>
              <a:ext uri="{FF2B5EF4-FFF2-40B4-BE49-F238E27FC236}">
                <a16:creationId xmlns:a16="http://schemas.microsoft.com/office/drawing/2014/main" id="{A4F42666-C45C-05C1-24A6-DD93A13C2D0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98795330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.+Testo bull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33210A1B-42BC-EC5F-04C4-C9AF465E3B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7CE3F139-7DC1-57BC-CB5E-2747AB903E9F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475603-91F0-6F3B-6382-9E2DF94ABD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938" y="1449388"/>
            <a:ext cx="11013687" cy="4175125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Segnaposto testo 8">
            <a:extLst>
              <a:ext uri="{FF2B5EF4-FFF2-40B4-BE49-F238E27FC236}">
                <a16:creationId xmlns:a16="http://schemas.microsoft.com/office/drawing/2014/main" id="{DE0CB5C5-F571-B018-A267-57873F14C93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8" name="Segnaposto testo 8">
            <a:extLst>
              <a:ext uri="{FF2B5EF4-FFF2-40B4-BE49-F238E27FC236}">
                <a16:creationId xmlns:a16="http://schemas.microsoft.com/office/drawing/2014/main" id="{0BADBCDC-0249-C7D0-170F-D214743EBC9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15861342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+Sott.+Testo bulltes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33210A1B-42BC-EC5F-04C4-C9AF465E3B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7CE3F139-7DC1-57BC-CB5E-2747AB903E9F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1C42CEE6-00AE-EEC5-03C4-A2E2F59ECC5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938" y="1449388"/>
            <a:ext cx="11013687" cy="4175125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Segnaposto testo 8">
            <a:extLst>
              <a:ext uri="{FF2B5EF4-FFF2-40B4-BE49-F238E27FC236}">
                <a16:creationId xmlns:a16="http://schemas.microsoft.com/office/drawing/2014/main" id="{EE470300-8B42-5B55-5347-B36D4709A5C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8" name="Segnaposto testo 8">
            <a:extLst>
              <a:ext uri="{FF2B5EF4-FFF2-40B4-BE49-F238E27FC236}">
                <a16:creationId xmlns:a16="http://schemas.microsoft.com/office/drawing/2014/main" id="{E381DC9F-2974-4F76-3FD4-755D6147A2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90999804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to+Sup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3">
            <a:extLst>
              <a:ext uri="{FF2B5EF4-FFF2-40B4-BE49-F238E27FC236}">
                <a16:creationId xmlns:a16="http://schemas.microsoft.com/office/drawing/2014/main" id="{DE206D90-7811-7896-F99E-20F96594AF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>
                <a:solidFill>
                  <a:srgbClr val="000200"/>
                </a:solidFill>
                <a:latin typeface="+mn-lt"/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3" name="Segnaposto testo 5">
            <a:extLst>
              <a:ext uri="{FF2B5EF4-FFF2-40B4-BE49-F238E27FC236}">
                <a16:creationId xmlns:a16="http://schemas.microsoft.com/office/drawing/2014/main" id="{4BF10D90-3B73-EB07-D825-C58A38E63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193793"/>
            <a:ext cx="7859713" cy="935546"/>
          </a:xfrm>
          <a:prstGeom prst="rect">
            <a:avLst/>
          </a:prstGeom>
          <a:solidFill>
            <a:srgbClr val="000200">
              <a:alpha val="85000"/>
            </a:srgbClr>
          </a:solidFill>
        </p:spPr>
        <p:txBody>
          <a:bodyPr lIns="612000" tIns="0" rIns="0" bIns="0" anchor="ctr"/>
          <a:lstStyle>
            <a:lvl1pPr algn="l">
              <a:defRPr>
                <a:solidFill>
                  <a:schemeClr val="bg1">
                    <a:lumMod val="95000"/>
                  </a:schemeClr>
                </a:solidFill>
                <a:latin typeface="+mj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0/30pt</a:t>
            </a:r>
          </a:p>
        </p:txBody>
      </p:sp>
    </p:spTree>
    <p:extLst>
      <p:ext uri="{BB962C8B-B14F-4D97-AF65-F5344CB8AC3E}">
        <p14:creationId xmlns:p14="http://schemas.microsoft.com/office/powerpoint/2010/main" val="290771068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Immagine alto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2">
            <a:extLst>
              <a:ext uri="{FF2B5EF4-FFF2-40B4-BE49-F238E27FC236}">
                <a16:creationId xmlns:a16="http://schemas.microsoft.com/office/drawing/2014/main" id="{85CE5BB1-BC85-2291-B86B-85319A22F4E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883443"/>
            <a:ext cx="12192000" cy="2723851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4" name="Segnaposto testo 4">
            <a:extLst>
              <a:ext uri="{FF2B5EF4-FFF2-40B4-BE49-F238E27FC236}">
                <a16:creationId xmlns:a16="http://schemas.microsoft.com/office/drawing/2014/main" id="{3CBFE464-3BF3-ED59-5695-121AC8D15D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3752850"/>
            <a:ext cx="3527425" cy="2089150"/>
          </a:xfrm>
          <a:prstGeom prst="rect">
            <a:avLst/>
          </a:prstGeom>
          <a:noFill/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502D74F9-F26C-525C-2601-2B440CD0E9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5" y="3752850"/>
            <a:ext cx="3529013" cy="2089150"/>
          </a:xfrm>
          <a:prstGeom prst="rect">
            <a:avLst/>
          </a:prstGeom>
          <a:noFill/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0" name="Segnaposto testo 4">
            <a:extLst>
              <a:ext uri="{FF2B5EF4-FFF2-40B4-BE49-F238E27FC236}">
                <a16:creationId xmlns:a16="http://schemas.microsoft.com/office/drawing/2014/main" id="{C35181E3-2E53-F715-42C9-A714E6522B0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7266" y="3758627"/>
            <a:ext cx="3527359" cy="2083373"/>
          </a:xfrm>
          <a:prstGeom prst="rect">
            <a:avLst/>
          </a:prstGeom>
          <a:noFill/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3" name="Titolo 5">
            <a:extLst>
              <a:ext uri="{FF2B5EF4-FFF2-40B4-BE49-F238E27FC236}">
                <a16:creationId xmlns:a16="http://schemas.microsoft.com/office/drawing/2014/main" id="{54B236CA-1B15-E66F-DDA1-6ED6EE39DF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8" name="Segnaposto contenuto 2">
            <a:extLst>
              <a:ext uri="{FF2B5EF4-FFF2-40B4-BE49-F238E27FC236}">
                <a16:creationId xmlns:a16="http://schemas.microsoft.com/office/drawing/2014/main" id="{A63567FF-5CFE-6BCD-BCE4-B8EDD4FC0F9B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04270C8D-2191-7183-AB1F-F8D2E5AA04B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6" name="Segnaposto testo 8">
            <a:extLst>
              <a:ext uri="{FF2B5EF4-FFF2-40B4-BE49-F238E27FC236}">
                <a16:creationId xmlns:a16="http://schemas.microsoft.com/office/drawing/2014/main" id="{3F0FA6D8-7049-1409-D70C-D4DA47CE3FD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2108075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Immagine basso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5">
            <a:extLst>
              <a:ext uri="{FF2B5EF4-FFF2-40B4-BE49-F238E27FC236}">
                <a16:creationId xmlns:a16="http://schemas.microsoft.com/office/drawing/2014/main" id="{27D525BA-CDD3-86A3-4ACC-39987C1106E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3536950"/>
            <a:ext cx="12192000" cy="2561431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C3A5D65D-2CC1-2AF8-9ABD-7D80AB325B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1036" y="1449389"/>
            <a:ext cx="350992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0" name="Segnaposto testo 4">
            <a:extLst>
              <a:ext uri="{FF2B5EF4-FFF2-40B4-BE49-F238E27FC236}">
                <a16:creationId xmlns:a16="http://schemas.microsoft.com/office/drawing/2014/main" id="{23101581-4591-3DBC-214D-5C91AB9D15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42" y="1449389"/>
            <a:ext cx="3528000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876102BC-9D56-36D9-F0B3-08F7DA791E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5613" y="1449389"/>
            <a:ext cx="352735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8" name="Titolo 5">
            <a:extLst>
              <a:ext uri="{FF2B5EF4-FFF2-40B4-BE49-F238E27FC236}">
                <a16:creationId xmlns:a16="http://schemas.microsoft.com/office/drawing/2014/main" id="{66DA1483-8BA7-ED49-C684-7C4584B780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9" name="Segnaposto contenuto 2">
            <a:extLst>
              <a:ext uri="{FF2B5EF4-FFF2-40B4-BE49-F238E27FC236}">
                <a16:creationId xmlns:a16="http://schemas.microsoft.com/office/drawing/2014/main" id="{CE9EDD0A-2480-B4CC-2014-F0E33A88CD91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2" name="Segnaposto testo 8">
            <a:extLst>
              <a:ext uri="{FF2B5EF4-FFF2-40B4-BE49-F238E27FC236}">
                <a16:creationId xmlns:a16="http://schemas.microsoft.com/office/drawing/2014/main" id="{035AAB54-8863-408A-7FFF-7B1E870B7A7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4" name="Segnaposto testo 8">
            <a:extLst>
              <a:ext uri="{FF2B5EF4-FFF2-40B4-BE49-F238E27FC236}">
                <a16:creationId xmlns:a16="http://schemas.microsoft.com/office/drawing/2014/main" id="{AF47B508-0E3A-3D72-A837-378EABDAD8F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154052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3 box immagine basso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5">
            <a:extLst>
              <a:ext uri="{FF2B5EF4-FFF2-40B4-BE49-F238E27FC236}">
                <a16:creationId xmlns:a16="http://schemas.microsoft.com/office/drawing/2014/main" id="{73AA6DDC-05F3-770C-34A9-6859EDFD91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3542755"/>
            <a:ext cx="4116387" cy="2299245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3" name="Segnaposto immagine 5">
            <a:extLst>
              <a:ext uri="{FF2B5EF4-FFF2-40B4-BE49-F238E27FC236}">
                <a16:creationId xmlns:a16="http://schemas.microsoft.com/office/drawing/2014/main" id="{738F0159-E30E-9598-C601-E7319C5671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32287" y="3542755"/>
            <a:ext cx="3528000" cy="2299245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10" name="Segnaposto immagine 5">
            <a:extLst>
              <a:ext uri="{FF2B5EF4-FFF2-40B4-BE49-F238E27FC236}">
                <a16:creationId xmlns:a16="http://schemas.microsoft.com/office/drawing/2014/main" id="{DB1A8743-536A-1F8B-7B9F-E81EC2DB530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75613" y="3542755"/>
            <a:ext cx="4116386" cy="2299245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BB765839-851B-608C-1E1A-725E686F0C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1036" y="1449389"/>
            <a:ext cx="350992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3" name="Segnaposto testo 4">
            <a:extLst>
              <a:ext uri="{FF2B5EF4-FFF2-40B4-BE49-F238E27FC236}">
                <a16:creationId xmlns:a16="http://schemas.microsoft.com/office/drawing/2014/main" id="{6E3C9C77-0544-78DA-4520-2C8D6E41EA7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7375" y="1449389"/>
            <a:ext cx="3528000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4" name="Segnaposto testo 4">
            <a:extLst>
              <a:ext uri="{FF2B5EF4-FFF2-40B4-BE49-F238E27FC236}">
                <a16:creationId xmlns:a16="http://schemas.microsoft.com/office/drawing/2014/main" id="{313D7DD9-908F-1F37-70F7-513EF00ACD0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75613" y="1449389"/>
            <a:ext cx="352735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Titolo 5">
            <a:extLst>
              <a:ext uri="{FF2B5EF4-FFF2-40B4-BE49-F238E27FC236}">
                <a16:creationId xmlns:a16="http://schemas.microsoft.com/office/drawing/2014/main" id="{034D8B24-2A45-E754-7DCE-6118871505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FDFC48BA-88B5-4EA4-1CB5-8157FC7479DD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8" name="Segnaposto testo 8">
            <a:extLst>
              <a:ext uri="{FF2B5EF4-FFF2-40B4-BE49-F238E27FC236}">
                <a16:creationId xmlns:a16="http://schemas.microsoft.com/office/drawing/2014/main" id="{4CDA382C-034E-5756-B047-7A67B09CFA3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5EEFE5B5-E647-8010-4F05-6083A63D5A6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1414600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3 box immagine alto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egnaposto immagine 5">
            <a:extLst>
              <a:ext uri="{FF2B5EF4-FFF2-40B4-BE49-F238E27FC236}">
                <a16:creationId xmlns:a16="http://schemas.microsoft.com/office/drawing/2014/main" id="{043C3591-1D37-53D0-B3BD-BFEFD909C8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1449388"/>
            <a:ext cx="4116387" cy="2087561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22" name="Segnaposto immagine 5">
            <a:extLst>
              <a:ext uri="{FF2B5EF4-FFF2-40B4-BE49-F238E27FC236}">
                <a16:creationId xmlns:a16="http://schemas.microsoft.com/office/drawing/2014/main" id="{5599F2EA-00E4-BFA2-7D72-B7779FA7442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32288" y="1449389"/>
            <a:ext cx="3528000" cy="2087560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23" name="Segnaposto immagine 5">
            <a:extLst>
              <a:ext uri="{FF2B5EF4-FFF2-40B4-BE49-F238E27FC236}">
                <a16:creationId xmlns:a16="http://schemas.microsoft.com/office/drawing/2014/main" id="{098338AB-5336-DE4C-7C6D-E4F33A3D73A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75613" y="1449389"/>
            <a:ext cx="4116386" cy="2087560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24" name="Segnaposto testo 4">
            <a:extLst>
              <a:ext uri="{FF2B5EF4-FFF2-40B4-BE49-F238E27FC236}">
                <a16:creationId xmlns:a16="http://schemas.microsoft.com/office/drawing/2014/main" id="{15CC50A4-86CF-2E65-7AAC-2A5D0D62A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3763542"/>
            <a:ext cx="3528000" cy="2087560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5" name="Segnaposto testo 4">
            <a:extLst>
              <a:ext uri="{FF2B5EF4-FFF2-40B4-BE49-F238E27FC236}">
                <a16:creationId xmlns:a16="http://schemas.microsoft.com/office/drawing/2014/main" id="{FAB8E5CC-8996-DF26-8EDE-B8DC4BF2A8E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92714" y="3763541"/>
            <a:ext cx="3528000" cy="2078459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6" name="Segnaposto testo 4">
            <a:extLst>
              <a:ext uri="{FF2B5EF4-FFF2-40B4-BE49-F238E27FC236}">
                <a16:creationId xmlns:a16="http://schemas.microsoft.com/office/drawing/2014/main" id="{0473C9F1-92C4-6633-A0A1-D94591377AE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89932" y="3763540"/>
            <a:ext cx="3527359" cy="2087561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7B3700A1-E544-4CFA-D4DE-95F5C019E5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7DB4E08-15F4-532B-0142-6C63543C233A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" name="Segnaposto testo 8">
            <a:extLst>
              <a:ext uri="{FF2B5EF4-FFF2-40B4-BE49-F238E27FC236}">
                <a16:creationId xmlns:a16="http://schemas.microsoft.com/office/drawing/2014/main" id="{36333E80-5A9C-7888-5BF9-2F115B89F9C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7" name="Segnaposto testo 8">
            <a:extLst>
              <a:ext uri="{FF2B5EF4-FFF2-40B4-BE49-F238E27FC236}">
                <a16:creationId xmlns:a16="http://schemas.microsoft.com/office/drawing/2014/main" id="{868995FD-F5E7-49D1-E408-F102B981B23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3950485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1/3sx + 3box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egnaposto testo 16">
            <a:extLst>
              <a:ext uri="{FF2B5EF4-FFF2-40B4-BE49-F238E27FC236}">
                <a16:creationId xmlns:a16="http://schemas.microsoft.com/office/drawing/2014/main" id="{56FA041A-C4AB-2602-B78A-7C1F4310FB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8146" y="1441725"/>
            <a:ext cx="7843854" cy="324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anchor="ctr"/>
          <a:lstStyle>
            <a:lvl1pPr>
              <a:defRPr lang="it-IT" sz="1050" b="1" baseline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3" name="Segnaposto testo 16">
            <a:extLst>
              <a:ext uri="{FF2B5EF4-FFF2-40B4-BE49-F238E27FC236}">
                <a16:creationId xmlns:a16="http://schemas.microsoft.com/office/drawing/2014/main" id="{5F665B89-210C-5ED5-ECFA-0E63BACACB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8146" y="1773182"/>
            <a:ext cx="7272000" cy="827143"/>
          </a:xfrm>
          <a:prstGeom prst="rect">
            <a:avLst/>
          </a:prstGeom>
        </p:spPr>
        <p:txBody>
          <a:bodyPr tIns="108000"/>
          <a:lstStyle>
            <a:lvl1pPr>
              <a:defRPr sz="1000" b="0" baseline="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4" name="Segnaposto testo 16">
            <a:extLst>
              <a:ext uri="{FF2B5EF4-FFF2-40B4-BE49-F238E27FC236}">
                <a16:creationId xmlns:a16="http://schemas.microsoft.com/office/drawing/2014/main" id="{364A501F-2260-D715-C310-F73FC61D1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48146" y="3043531"/>
            <a:ext cx="7843854" cy="324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anchor="ctr"/>
          <a:lstStyle>
            <a:lvl1pPr>
              <a:defRPr lang="it-IT" sz="1050" b="1" baseline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5" name="Segnaposto testo 16">
            <a:extLst>
              <a:ext uri="{FF2B5EF4-FFF2-40B4-BE49-F238E27FC236}">
                <a16:creationId xmlns:a16="http://schemas.microsoft.com/office/drawing/2014/main" id="{6139C95D-0127-4540-AAAD-71035D6A618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8146" y="3393576"/>
            <a:ext cx="7272000" cy="827999"/>
          </a:xfrm>
          <a:prstGeom prst="rect">
            <a:avLst/>
          </a:prstGeom>
        </p:spPr>
        <p:txBody>
          <a:bodyPr tIns="108000"/>
          <a:lstStyle>
            <a:lvl1pPr>
              <a:defRPr sz="1000" b="0" baseline="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6" name="Segnaposto testo 16">
            <a:extLst>
              <a:ext uri="{FF2B5EF4-FFF2-40B4-BE49-F238E27FC236}">
                <a16:creationId xmlns:a16="http://schemas.microsoft.com/office/drawing/2014/main" id="{2406069C-0505-2EC5-D411-8F339DE9220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8146" y="4689475"/>
            <a:ext cx="7843854" cy="324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anchor="ctr"/>
          <a:lstStyle>
            <a:lvl1pPr>
              <a:defRPr lang="it-IT" sz="1050" b="1" baseline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7" name="Segnaposto testo 16">
            <a:extLst>
              <a:ext uri="{FF2B5EF4-FFF2-40B4-BE49-F238E27FC236}">
                <a16:creationId xmlns:a16="http://schemas.microsoft.com/office/drawing/2014/main" id="{CF4AF6CB-EC8B-ABA7-5571-42E46BB06BE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48146" y="5039519"/>
            <a:ext cx="7272000" cy="802481"/>
          </a:xfrm>
          <a:prstGeom prst="rect">
            <a:avLst/>
          </a:prstGeom>
        </p:spPr>
        <p:txBody>
          <a:bodyPr tIns="108000"/>
          <a:lstStyle>
            <a:lvl1pPr>
              <a:defRPr sz="1000" b="0" baseline="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8" name="Segnaposto immagine 12">
            <a:extLst>
              <a:ext uri="{FF2B5EF4-FFF2-40B4-BE49-F238E27FC236}">
                <a16:creationId xmlns:a16="http://schemas.microsoft.com/office/drawing/2014/main" id="{1A79D22C-4CDF-DCC1-9B02-2370FD5CF778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0" y="1449388"/>
            <a:ext cx="4118969" cy="4392612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6E8B6963-193C-BE70-4F6F-FC1FF9C920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9EB1C69-F91B-C417-DB46-1F19C88C6139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" name="Segnaposto testo 8">
            <a:extLst>
              <a:ext uri="{FF2B5EF4-FFF2-40B4-BE49-F238E27FC236}">
                <a16:creationId xmlns:a16="http://schemas.microsoft.com/office/drawing/2014/main" id="{0D671E4B-8CD1-D3DB-19C9-24B937291A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7" name="Segnaposto testo 8">
            <a:extLst>
              <a:ext uri="{FF2B5EF4-FFF2-40B4-BE49-F238E27FC236}">
                <a16:creationId xmlns:a16="http://schemas.microsoft.com/office/drawing/2014/main" id="{59CCB2ED-C8A1-8A23-D82A-44184457C75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55415379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magine 1/3sx + 3box dx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egnaposto testo 16">
            <a:extLst>
              <a:ext uri="{FF2B5EF4-FFF2-40B4-BE49-F238E27FC236}">
                <a16:creationId xmlns:a16="http://schemas.microsoft.com/office/drawing/2014/main" id="{56FA041A-C4AB-2602-B78A-7C1F4310FB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8146" y="1441725"/>
            <a:ext cx="7843854" cy="324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anchor="ctr"/>
          <a:lstStyle>
            <a:lvl1pPr>
              <a:defRPr lang="it-IT" sz="1050" b="0" baseline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3" name="Segnaposto testo 16">
            <a:extLst>
              <a:ext uri="{FF2B5EF4-FFF2-40B4-BE49-F238E27FC236}">
                <a16:creationId xmlns:a16="http://schemas.microsoft.com/office/drawing/2014/main" id="{5F665B89-210C-5ED5-ECFA-0E63BACACB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8146" y="1773182"/>
            <a:ext cx="7272000" cy="827143"/>
          </a:xfrm>
          <a:prstGeom prst="rect">
            <a:avLst/>
          </a:prstGeom>
        </p:spPr>
        <p:txBody>
          <a:bodyPr tIns="108000"/>
          <a:lstStyle>
            <a:lvl1pPr>
              <a:defRPr sz="1000" b="0" baseline="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4" name="Segnaposto testo 16">
            <a:extLst>
              <a:ext uri="{FF2B5EF4-FFF2-40B4-BE49-F238E27FC236}">
                <a16:creationId xmlns:a16="http://schemas.microsoft.com/office/drawing/2014/main" id="{364A501F-2260-D715-C310-F73FC61D14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48146" y="3043531"/>
            <a:ext cx="7843854" cy="324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anchor="ctr"/>
          <a:lstStyle>
            <a:lvl1pPr>
              <a:defRPr lang="it-IT" sz="1050" b="0" baseline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5" name="Segnaposto testo 16">
            <a:extLst>
              <a:ext uri="{FF2B5EF4-FFF2-40B4-BE49-F238E27FC236}">
                <a16:creationId xmlns:a16="http://schemas.microsoft.com/office/drawing/2014/main" id="{6139C95D-0127-4540-AAAD-71035D6A618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8146" y="3393576"/>
            <a:ext cx="7272000" cy="827999"/>
          </a:xfrm>
          <a:prstGeom prst="rect">
            <a:avLst/>
          </a:prstGeom>
        </p:spPr>
        <p:txBody>
          <a:bodyPr tIns="108000"/>
          <a:lstStyle>
            <a:lvl1pPr>
              <a:defRPr sz="1000" b="0" baseline="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6" name="Segnaposto testo 16">
            <a:extLst>
              <a:ext uri="{FF2B5EF4-FFF2-40B4-BE49-F238E27FC236}">
                <a16:creationId xmlns:a16="http://schemas.microsoft.com/office/drawing/2014/main" id="{2406069C-0505-2EC5-D411-8F339DE9220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8146" y="4689475"/>
            <a:ext cx="7843854" cy="324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anchor="ctr"/>
          <a:lstStyle>
            <a:lvl1pPr>
              <a:defRPr lang="it-IT" sz="1050" b="0" baseline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7" name="Segnaposto testo 16">
            <a:extLst>
              <a:ext uri="{FF2B5EF4-FFF2-40B4-BE49-F238E27FC236}">
                <a16:creationId xmlns:a16="http://schemas.microsoft.com/office/drawing/2014/main" id="{CF4AF6CB-EC8B-ABA7-5571-42E46BB06BE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48146" y="5039519"/>
            <a:ext cx="7272000" cy="802481"/>
          </a:xfrm>
          <a:prstGeom prst="rect">
            <a:avLst/>
          </a:prstGeom>
        </p:spPr>
        <p:txBody>
          <a:bodyPr tIns="108000"/>
          <a:lstStyle>
            <a:lvl1pPr>
              <a:defRPr sz="1000" b="0" baseline="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8" name="Segnaposto immagine 12">
            <a:extLst>
              <a:ext uri="{FF2B5EF4-FFF2-40B4-BE49-F238E27FC236}">
                <a16:creationId xmlns:a16="http://schemas.microsoft.com/office/drawing/2014/main" id="{1A79D22C-4CDF-DCC1-9B02-2370FD5CF778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0" y="1449388"/>
            <a:ext cx="4118969" cy="4392612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6E8B6963-193C-BE70-4F6F-FC1FF9C920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9EB1C69-F91B-C417-DB46-1F19C88C6139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" name="Segnaposto testo 8">
            <a:extLst>
              <a:ext uri="{FF2B5EF4-FFF2-40B4-BE49-F238E27FC236}">
                <a16:creationId xmlns:a16="http://schemas.microsoft.com/office/drawing/2014/main" id="{8B5EA939-9635-5786-549C-F466CAE973C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7" name="Segnaposto testo 8">
            <a:extLst>
              <a:ext uri="{FF2B5EF4-FFF2-40B4-BE49-F238E27FC236}">
                <a16:creationId xmlns:a16="http://schemas.microsoft.com/office/drawing/2014/main" id="{DC1A86BF-DD60-1A34-1A11-650A0198F55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34844663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+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4">
            <a:extLst>
              <a:ext uri="{FF2B5EF4-FFF2-40B4-BE49-F238E27FC236}">
                <a16:creationId xmlns:a16="http://schemas.microsoft.com/office/drawing/2014/main" id="{7EB19419-93BF-24C2-4E4D-5F74DC2842A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860814"/>
            <a:ext cx="12192000" cy="5153906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A64D77CC-EEBF-3B53-D3BE-A025BCF47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E3F3EC47-9771-1436-B24C-E7F37597120D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7" name="Segnaposto testo 8">
            <a:extLst>
              <a:ext uri="{FF2B5EF4-FFF2-40B4-BE49-F238E27FC236}">
                <a16:creationId xmlns:a16="http://schemas.microsoft.com/office/drawing/2014/main" id="{61BBB74C-2689-10E1-3460-F9BA8C6FDBF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8" name="Segnaposto testo 8">
            <a:extLst>
              <a:ext uri="{FF2B5EF4-FFF2-40B4-BE49-F238E27FC236}">
                <a16:creationId xmlns:a16="http://schemas.microsoft.com/office/drawing/2014/main" id="{CB98385E-D4B6-A7FA-66F1-14C193F0CB6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04086597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5">
            <a:extLst>
              <a:ext uri="{FF2B5EF4-FFF2-40B4-BE49-F238E27FC236}">
                <a16:creationId xmlns:a16="http://schemas.microsoft.com/office/drawing/2014/main" id="{81AFC227-A263-3713-E7FF-F6F258ABF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2" name="Segnaposto testo 8">
            <a:extLst>
              <a:ext uri="{FF2B5EF4-FFF2-40B4-BE49-F238E27FC236}">
                <a16:creationId xmlns:a16="http://schemas.microsoft.com/office/drawing/2014/main" id="{EBB3ACC7-CA26-CC57-213D-5B9C70E81D0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3" name="Segnaposto testo 8">
            <a:extLst>
              <a:ext uri="{FF2B5EF4-FFF2-40B4-BE49-F238E27FC236}">
                <a16:creationId xmlns:a16="http://schemas.microsoft.com/office/drawing/2014/main" id="{E048826C-3D04-3AF8-D7EB-58DCADEB33B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19942886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3 box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6D3C2D2-2208-435E-E7AF-DF96BD8CE70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87090" y="1737044"/>
            <a:ext cx="3528000" cy="3887469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Corpo Montserrat 10/16 pt.</a:t>
            </a:r>
          </a:p>
        </p:txBody>
      </p:sp>
      <p:sp>
        <p:nvSpPr>
          <p:cNvPr id="4" name="Segnaposto testo 9">
            <a:extLst>
              <a:ext uri="{FF2B5EF4-FFF2-40B4-BE49-F238E27FC236}">
                <a16:creationId xmlns:a16="http://schemas.microsoft.com/office/drawing/2014/main" id="{936E8B8C-C940-3DBF-E61E-267D44F2CCF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7088" y="1449388"/>
            <a:ext cx="3528000" cy="287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algn="ctr">
              <a:defRPr sz="1100" b="1">
                <a:solidFill>
                  <a:srgbClr val="000200"/>
                </a:solidFill>
                <a:latin typeface="Urbanist Black" panose="020B0A04040200000203" pitchFamily="34" charset="0"/>
                <a:ea typeface="Urbanist Black" panose="020B0A04040200000203" pitchFamily="34" charset="0"/>
                <a:cs typeface="Urbanist Black" panose="020B0A04040200000203" pitchFamily="34" charset="0"/>
              </a:defRPr>
            </a:lvl1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black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8" name="Segnaposto contenuto 2">
            <a:extLst>
              <a:ext uri="{FF2B5EF4-FFF2-40B4-BE49-F238E27FC236}">
                <a16:creationId xmlns:a16="http://schemas.microsoft.com/office/drawing/2014/main" id="{58BBB5A8-6993-4F7D-1917-7E0231B43F0C}"/>
              </a:ext>
            </a:extLst>
          </p:cNvPr>
          <p:cNvSpPr>
            <a:spLocks noGrp="1"/>
          </p:cNvSpPr>
          <p:nvPr>
            <p:ph idx="43" hasCustomPrompt="1"/>
          </p:nvPr>
        </p:nvSpPr>
        <p:spPr>
          <a:xfrm>
            <a:off x="4331348" y="1737044"/>
            <a:ext cx="3528000" cy="3887469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Corpo Montserrat 10/16 pt.</a:t>
            </a:r>
          </a:p>
        </p:txBody>
      </p:sp>
      <p:sp>
        <p:nvSpPr>
          <p:cNvPr id="9" name="Segnaposto testo 9">
            <a:extLst>
              <a:ext uri="{FF2B5EF4-FFF2-40B4-BE49-F238E27FC236}">
                <a16:creationId xmlns:a16="http://schemas.microsoft.com/office/drawing/2014/main" id="{71A69D74-714D-F64C-B79B-4452CE6355F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31346" y="1449388"/>
            <a:ext cx="3528000" cy="287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algn="ctr">
              <a:defRPr sz="1100" b="1">
                <a:solidFill>
                  <a:srgbClr val="000200"/>
                </a:solidFill>
                <a:latin typeface="Urbanist Black" panose="020B0A04040200000203" pitchFamily="34" charset="0"/>
                <a:ea typeface="Urbanist Black" panose="020B0A04040200000203" pitchFamily="34" charset="0"/>
                <a:cs typeface="Urbanist Black" panose="020B0A04040200000203" pitchFamily="34" charset="0"/>
              </a:defRPr>
            </a:lvl1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black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E025FDE5-5B06-74A5-193D-E208BA863E87}"/>
              </a:ext>
            </a:extLst>
          </p:cNvPr>
          <p:cNvSpPr>
            <a:spLocks noGrp="1"/>
          </p:cNvSpPr>
          <p:nvPr>
            <p:ph idx="45" hasCustomPrompt="1"/>
          </p:nvPr>
        </p:nvSpPr>
        <p:spPr>
          <a:xfrm>
            <a:off x="8075615" y="1737044"/>
            <a:ext cx="3528000" cy="3887469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Corpo Montserrat 10/16 pt.</a:t>
            </a:r>
          </a:p>
        </p:txBody>
      </p:sp>
      <p:sp>
        <p:nvSpPr>
          <p:cNvPr id="16" name="Segnaposto testo 9">
            <a:extLst>
              <a:ext uri="{FF2B5EF4-FFF2-40B4-BE49-F238E27FC236}">
                <a16:creationId xmlns:a16="http://schemas.microsoft.com/office/drawing/2014/main" id="{E84C70E4-C3E3-A35A-8C53-F8BC366986F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075613" y="1449388"/>
            <a:ext cx="3528000" cy="287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algn="ctr">
              <a:defRPr sz="1100" b="1">
                <a:solidFill>
                  <a:srgbClr val="000200"/>
                </a:solidFill>
                <a:latin typeface="Urbanist Black" panose="020B0A04040200000203" pitchFamily="34" charset="0"/>
                <a:ea typeface="Urbanist Black" panose="020B0A04040200000203" pitchFamily="34" charset="0"/>
                <a:cs typeface="Urbanist Black" panose="020B0A04040200000203" pitchFamily="34" charset="0"/>
              </a:defRPr>
            </a:lvl1pPr>
          </a:lstStyle>
          <a:p>
            <a:pPr lvl="0"/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black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C70A6880-409B-F7EE-DCCD-723CEF4006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Urbanist SemiBold" panose="020B0A04040200000203" pitchFamily="34" charset="0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25ECEFDF-8089-E334-256E-C820FC28D5DC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0" name="Segnaposto testo 8">
            <a:extLst>
              <a:ext uri="{FF2B5EF4-FFF2-40B4-BE49-F238E27FC236}">
                <a16:creationId xmlns:a16="http://schemas.microsoft.com/office/drawing/2014/main" id="{9E168235-B248-084B-1076-CA77CAB5D0D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11" name="Segnaposto testo 8">
            <a:extLst>
              <a:ext uri="{FF2B5EF4-FFF2-40B4-BE49-F238E27FC236}">
                <a16:creationId xmlns:a16="http://schemas.microsoft.com/office/drawing/2014/main" id="{A93D5B2A-B65A-F986-CADA-A7F14C45F49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00635144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o 2/3sx + immagine 1/3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4">
            <a:extLst>
              <a:ext uri="{FF2B5EF4-FFF2-40B4-BE49-F238E27FC236}">
                <a16:creationId xmlns:a16="http://schemas.microsoft.com/office/drawing/2014/main" id="{DFCF51C6-809F-4EFD-85AB-D57170AE77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087" y="1449388"/>
            <a:ext cx="7272625" cy="4175125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5506CCDC-9E52-0B41-82D8-17D4FFD5B3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75613" y="944563"/>
            <a:ext cx="4108965" cy="4897437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9B4B88-A5C4-A14A-C3D2-5C495E52DB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9" name="Segnaposto contenuto 2">
            <a:extLst>
              <a:ext uri="{FF2B5EF4-FFF2-40B4-BE49-F238E27FC236}">
                <a16:creationId xmlns:a16="http://schemas.microsoft.com/office/drawing/2014/main" id="{060784DE-1ED8-48BE-CD80-339E4B273158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2" name="Segnaposto testo 8">
            <a:extLst>
              <a:ext uri="{FF2B5EF4-FFF2-40B4-BE49-F238E27FC236}">
                <a16:creationId xmlns:a16="http://schemas.microsoft.com/office/drawing/2014/main" id="{F23F3B5F-DED2-CF29-480A-6E54F7AE44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2FAE8B6B-A1A0-1854-93AF-28AE8628DD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71929408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sto 2/3sx + immagine 1/3dx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4">
            <a:extLst>
              <a:ext uri="{FF2B5EF4-FFF2-40B4-BE49-F238E27FC236}">
                <a16:creationId xmlns:a16="http://schemas.microsoft.com/office/drawing/2014/main" id="{DFCF51C6-809F-4EFD-85AB-D57170AE77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087" y="1449388"/>
            <a:ext cx="7272625" cy="4175125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5506CCDC-9E52-0B41-82D8-17D4FFD5B3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75613" y="944563"/>
            <a:ext cx="4108965" cy="4897437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9B4B88-A5C4-A14A-C3D2-5C495E52DB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9" name="Segnaposto contenuto 2">
            <a:extLst>
              <a:ext uri="{FF2B5EF4-FFF2-40B4-BE49-F238E27FC236}">
                <a16:creationId xmlns:a16="http://schemas.microsoft.com/office/drawing/2014/main" id="{060784DE-1ED8-48BE-CD80-339E4B273158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2" name="Segnaposto testo 8">
            <a:extLst>
              <a:ext uri="{FF2B5EF4-FFF2-40B4-BE49-F238E27FC236}">
                <a16:creationId xmlns:a16="http://schemas.microsoft.com/office/drawing/2014/main" id="{EF0F7620-6F41-B652-9A90-5B987AE2F6E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6B6DC506-19A5-F5F1-2A63-39D94604458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8243767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1/3sx + testo 2/3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4">
            <a:extLst>
              <a:ext uri="{FF2B5EF4-FFF2-40B4-BE49-F238E27FC236}">
                <a16:creationId xmlns:a16="http://schemas.microsoft.com/office/drawing/2014/main" id="{8E07C64D-CD5F-206B-9EEE-099F93346E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2287" y="1449388"/>
            <a:ext cx="7272337" cy="4175125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B2253665-3DC5-D8E6-F9DB-38942E97128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944563"/>
            <a:ext cx="4116388" cy="4897438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63087170-D3C1-2DFA-416D-4250AB64E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1C29DBCF-2E45-F4CD-41C4-842EC3A07917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8" name="Segnaposto testo 8">
            <a:extLst>
              <a:ext uri="{FF2B5EF4-FFF2-40B4-BE49-F238E27FC236}">
                <a16:creationId xmlns:a16="http://schemas.microsoft.com/office/drawing/2014/main" id="{39C84A7C-C462-DB67-C3F2-65AC6036BA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BB4B9BF6-1D66-CBF8-AF15-DA25C770CAE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9488108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magine 1/3sx + testo 2/3dx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4">
            <a:extLst>
              <a:ext uri="{FF2B5EF4-FFF2-40B4-BE49-F238E27FC236}">
                <a16:creationId xmlns:a16="http://schemas.microsoft.com/office/drawing/2014/main" id="{8E07C64D-CD5F-206B-9EEE-099F93346E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2287" y="1449388"/>
            <a:ext cx="7272337" cy="4175125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B2253665-3DC5-D8E6-F9DB-38942E97128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944563"/>
            <a:ext cx="4116388" cy="4897438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63087170-D3C1-2DFA-416D-4250AB64E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1C29DBCF-2E45-F4CD-41C4-842EC3A07917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8" name="Segnaposto testo 8">
            <a:extLst>
              <a:ext uri="{FF2B5EF4-FFF2-40B4-BE49-F238E27FC236}">
                <a16:creationId xmlns:a16="http://schemas.microsoft.com/office/drawing/2014/main" id="{76CB7594-8D65-58CF-C4E2-1F15C04C9DE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37E711A3-5473-8939-BE65-92074F2B6D2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6915807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o 1/32sx + immagine 2/3s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04764B89-ECC0-617F-8490-BD5A60159F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1449388"/>
            <a:ext cx="3529300" cy="4175125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C8D1A2B5-6315-B7A6-DCA1-BA336B648CE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43014" y="0"/>
            <a:ext cx="7859712" cy="6858000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334592889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magine 2/3sx + testo 1/3d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BE7B2F28-353A-021B-EC69-82528218A9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5613" y="1449388"/>
            <a:ext cx="3529300" cy="4175125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3" name="Segnaposto immagine 4">
            <a:extLst>
              <a:ext uri="{FF2B5EF4-FFF2-40B4-BE49-F238E27FC236}">
                <a16:creationId xmlns:a16="http://schemas.microsoft.com/office/drawing/2014/main" id="{535FC310-7DB5-AD2C-1BFE-D323A67688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0"/>
            <a:ext cx="7859712" cy="6858000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26991053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pagina intera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2">
            <a:extLst>
              <a:ext uri="{FF2B5EF4-FFF2-40B4-BE49-F238E27FC236}">
                <a16:creationId xmlns:a16="http://schemas.microsoft.com/office/drawing/2014/main" id="{99432472-0FB9-DD68-C849-513135ED31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2616095676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text A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5">
            <a:extLst>
              <a:ext uri="{FF2B5EF4-FFF2-40B4-BE49-F238E27FC236}">
                <a16:creationId xmlns:a16="http://schemas.microsoft.com/office/drawing/2014/main" id="{ED405DBB-920D-8D80-72F7-2EBCD14CF6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5995686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4800" b="1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pPr lvl="0"/>
            <a:r>
              <a:rPr lang="it-IT" dirty="0"/>
              <a:t>Hero text</a:t>
            </a:r>
          </a:p>
          <a:p>
            <a:pPr lvl="0"/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40/60pt</a:t>
            </a:r>
          </a:p>
        </p:txBody>
      </p:sp>
      <p:sp>
        <p:nvSpPr>
          <p:cNvPr id="2" name="Segnaposto testo 8">
            <a:extLst>
              <a:ext uri="{FF2B5EF4-FFF2-40B4-BE49-F238E27FC236}">
                <a16:creationId xmlns:a16="http://schemas.microsoft.com/office/drawing/2014/main" id="{3A7C1505-4AEC-DCED-E854-4C353595B9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B09FDCB0-961A-66ED-BCA3-3A286D72079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40389019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ro text A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5">
            <a:extLst>
              <a:ext uri="{FF2B5EF4-FFF2-40B4-BE49-F238E27FC236}">
                <a16:creationId xmlns:a16="http://schemas.microsoft.com/office/drawing/2014/main" id="{15517AA3-4987-56BD-89E2-3DFD10AF5F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5995686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4800" b="1">
                <a:solidFill>
                  <a:schemeClr val="tx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pPr lvl="0"/>
            <a:r>
              <a:rPr lang="it-IT" dirty="0"/>
              <a:t>Hero text</a:t>
            </a:r>
          </a:p>
          <a:p>
            <a:pPr lvl="0"/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40/60pt</a:t>
            </a:r>
          </a:p>
        </p:txBody>
      </p:sp>
      <p:sp>
        <p:nvSpPr>
          <p:cNvPr id="4" name="Segnaposto testo 8">
            <a:extLst>
              <a:ext uri="{FF2B5EF4-FFF2-40B4-BE49-F238E27FC236}">
                <a16:creationId xmlns:a16="http://schemas.microsoft.com/office/drawing/2014/main" id="{B827240F-5B35-3650-F960-6512909328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A2514D2C-CD9F-9E7A-1F8B-C11757E18C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8149277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Testo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5">
            <a:extLst>
              <a:ext uri="{FF2B5EF4-FFF2-40B4-BE49-F238E27FC236}">
                <a16:creationId xmlns:a16="http://schemas.microsoft.com/office/drawing/2014/main" id="{1250F3D1-D334-C04F-87D6-8DCB42E1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A3BBDB3C-DA21-D245-8BAF-D15CBA3B598F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40C23658-49A3-59C6-6E31-D6CFA245F8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938" y="1449388"/>
            <a:ext cx="11013687" cy="41751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SzPct val="110000"/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Segnaposto testo 8">
            <a:extLst>
              <a:ext uri="{FF2B5EF4-FFF2-40B4-BE49-F238E27FC236}">
                <a16:creationId xmlns:a16="http://schemas.microsoft.com/office/drawing/2014/main" id="{EE162177-22E2-18AC-5D7F-E1416A6E8E3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8E696371-92CD-AE89-E72E-08FE0C20AE4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8524060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ro text D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esto 4">
            <a:extLst>
              <a:ext uri="{FF2B5EF4-FFF2-40B4-BE49-F238E27FC236}">
                <a16:creationId xmlns:a16="http://schemas.microsoft.com/office/drawing/2014/main" id="{D54BD7CF-D5F5-1B9F-8F27-D9D68F9E99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87762" cy="6102095"/>
          </a:xfrm>
          <a:prstGeom prst="rect">
            <a:avLst/>
          </a:prstGeom>
          <a:noFill/>
          <a:ln w="12700">
            <a:noFill/>
          </a:ln>
        </p:spPr>
        <p:txBody>
          <a:bodyPr lIns="540000" tIns="0" rIns="0" bIns="0" numCol="1" spcCol="180000" anchor="ctr"/>
          <a:lstStyle>
            <a:lvl1pPr marL="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Hero text</a:t>
            </a:r>
          </a:p>
          <a:p>
            <a:pPr lvl="0"/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32/44pt</a:t>
            </a:r>
          </a:p>
        </p:txBody>
      </p:sp>
      <p:sp>
        <p:nvSpPr>
          <p:cNvPr id="7" name="Segnaposto immagine 4">
            <a:extLst>
              <a:ext uri="{FF2B5EF4-FFF2-40B4-BE49-F238E27FC236}">
                <a16:creationId xmlns:a16="http://schemas.microsoft.com/office/drawing/2014/main" id="{8DC5A4A2-8949-8910-7435-83CDB42F37B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0"/>
            <a:ext cx="6087762" cy="6102095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  <p:sp>
        <p:nvSpPr>
          <p:cNvPr id="2" name="Segnaposto testo 8">
            <a:extLst>
              <a:ext uri="{FF2B5EF4-FFF2-40B4-BE49-F238E27FC236}">
                <a16:creationId xmlns:a16="http://schemas.microsoft.com/office/drawing/2014/main" id="{69911F27-4D02-DF25-6476-07B6F51252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3" name="Segnaposto testo 8">
            <a:extLst>
              <a:ext uri="{FF2B5EF4-FFF2-40B4-BE49-F238E27FC236}">
                <a16:creationId xmlns:a16="http://schemas.microsoft.com/office/drawing/2014/main" id="{1DE110AA-F351-35AA-C5AC-4ECFE2155A6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75751153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ro text S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CBBBC1E3-0182-B43E-48AE-BEAAE498A9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87762" cy="610209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540000" tIns="0" rIns="0" bIns="0" numCol="1" spcCol="180000" anchor="ctr"/>
          <a:lstStyle>
            <a:lvl1pPr marL="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4400">
                <a:solidFill>
                  <a:schemeClr val="tx1"/>
                </a:solidFill>
                <a:latin typeface="+mj-lt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Hero text</a:t>
            </a:r>
          </a:p>
          <a:p>
            <a:pPr lvl="0"/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32/44pt</a:t>
            </a:r>
          </a:p>
        </p:txBody>
      </p:sp>
      <p:sp>
        <p:nvSpPr>
          <p:cNvPr id="3" name="Segnaposto immagine 4">
            <a:extLst>
              <a:ext uri="{FF2B5EF4-FFF2-40B4-BE49-F238E27FC236}">
                <a16:creationId xmlns:a16="http://schemas.microsoft.com/office/drawing/2014/main" id="{38A9EECC-4608-C984-0571-088719BEEE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0"/>
            <a:ext cx="6087762" cy="6102095"/>
          </a:xfrm>
          <a:prstGeom prst="rect">
            <a:avLst/>
          </a:prstGeom>
          <a:noFill/>
        </p:spPr>
        <p:txBody>
          <a:bodyPr anchor="ctr"/>
          <a:lstStyle>
            <a:lvl1pPr>
              <a:defRPr lang="it-IT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  <p:sp>
        <p:nvSpPr>
          <p:cNvPr id="6" name="Segnaposto testo 8">
            <a:extLst>
              <a:ext uri="{FF2B5EF4-FFF2-40B4-BE49-F238E27FC236}">
                <a16:creationId xmlns:a16="http://schemas.microsoft.com/office/drawing/2014/main" id="{3B04E904-9C89-5F15-77A3-EEEE259584D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7" name="Segnaposto testo 8">
            <a:extLst>
              <a:ext uri="{FF2B5EF4-FFF2-40B4-BE49-F238E27FC236}">
                <a16:creationId xmlns:a16="http://schemas.microsoft.com/office/drawing/2014/main" id="{4CE89856-ECB4-FC71-E2A5-D1EC147D00E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799036648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ertina"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43CA713-CA96-C1F8-AA45-ED4B9F518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481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3CA713-CA96-C1F8-AA45-ED4B9F518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olo 8">
            <a:extLst>
              <a:ext uri="{FF2B5EF4-FFF2-40B4-BE49-F238E27FC236}">
                <a16:creationId xmlns:a16="http://schemas.microsoft.com/office/drawing/2014/main" id="{F81B194E-D954-8570-63AF-E2832850BA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591084"/>
            <a:ext cx="11017250" cy="426720"/>
          </a:xfrm>
          <a:prstGeom prst="rect">
            <a:avLst/>
          </a:prstGeom>
        </p:spPr>
        <p:txBody>
          <a:bodyPr vert="horz" lIns="0" tIns="0" rIns="0" bIns="0" anchor="ctr"/>
          <a:lstStyle>
            <a:lvl1pPr algn="ctr">
              <a:defRPr sz="26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</a:t>
            </a:r>
            <a:r>
              <a:rPr lang="it-IT" sz="2400" dirty="0"/>
              <a:t>20/32 </a:t>
            </a:r>
            <a:r>
              <a:rPr lang="it-IT" sz="2400" dirty="0" err="1"/>
              <a:t>pt</a:t>
            </a:r>
            <a:endParaRPr lang="it-IT" dirty="0"/>
          </a:p>
        </p:txBody>
      </p:sp>
      <p:sp>
        <p:nvSpPr>
          <p:cNvPr id="16" name="Segnaposto testo 12">
            <a:extLst>
              <a:ext uri="{FF2B5EF4-FFF2-40B4-BE49-F238E27FC236}">
                <a16:creationId xmlns:a16="http://schemas.microsoft.com/office/drawing/2014/main" id="{BFAA9986-7956-B791-17BC-19900AF0DF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3205480"/>
            <a:ext cx="11017250" cy="304800"/>
          </a:xfrm>
          <a:prstGeom prst="rect">
            <a:avLst/>
          </a:prstGeom>
        </p:spPr>
        <p:txBody>
          <a:bodyPr lIns="0" tIns="0" rIns="0" bIns="0" anchor="t"/>
          <a:lstStyle>
            <a:lvl1pPr algn="ctr">
              <a:defRPr sz="1600">
                <a:solidFill>
                  <a:schemeClr val="bg1">
                    <a:lumMod val="9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6/18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7" name="Segnaposto testo 3">
            <a:extLst>
              <a:ext uri="{FF2B5EF4-FFF2-40B4-BE49-F238E27FC236}">
                <a16:creationId xmlns:a16="http://schemas.microsoft.com/office/drawing/2014/main" id="{6BFC0B37-9DA9-1093-91FC-5179FF0F16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66955" y="6453155"/>
            <a:ext cx="1637670" cy="322467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baseline="0">
                <a:solidFill>
                  <a:schemeClr val="bg1">
                    <a:lumMod val="9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00 mese 0000</a:t>
            </a:r>
          </a:p>
        </p:txBody>
      </p:sp>
      <p:pic>
        <p:nvPicPr>
          <p:cNvPr id="2" name="Immagine 1" descr="Immagine che contiene testo, Carattere, Elementi grafici, logo&#10;&#10;Il contenuto generato dall'IA potrebbe non essere corretto.">
            <a:extLst>
              <a:ext uri="{FF2B5EF4-FFF2-40B4-BE49-F238E27FC236}">
                <a16:creationId xmlns:a16="http://schemas.microsoft.com/office/drawing/2014/main" id="{7266F596-8F1A-726A-8EFE-B58684A5098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311" y="772345"/>
            <a:ext cx="3119377" cy="99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16715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ezione"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43CA713-CA96-C1F8-AA45-ED4B9F518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481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3CA713-CA96-C1F8-AA45-ED4B9F518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olo 8">
            <a:extLst>
              <a:ext uri="{FF2B5EF4-FFF2-40B4-BE49-F238E27FC236}">
                <a16:creationId xmlns:a16="http://schemas.microsoft.com/office/drawing/2014/main" id="{7FDFE46E-1A1F-2146-78CF-BAC06D876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509804"/>
            <a:ext cx="11017250" cy="426720"/>
          </a:xfrm>
          <a:prstGeom prst="rect">
            <a:avLst/>
          </a:prstGeom>
        </p:spPr>
        <p:txBody>
          <a:bodyPr vert="horz" lIns="0" tIns="0" rIns="0" bIns="0" anchor="ctr"/>
          <a:lstStyle>
            <a:lvl1pPr algn="ctr">
              <a:defRPr sz="2400" b="0">
                <a:solidFill>
                  <a:schemeClr val="bg1">
                    <a:lumMod val="95000"/>
                  </a:schemeClr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Copertina sezione 1 –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pt</a:t>
            </a:r>
          </a:p>
        </p:txBody>
      </p:sp>
      <p:sp>
        <p:nvSpPr>
          <p:cNvPr id="14" name="Segnaposto testo 12">
            <a:extLst>
              <a:ext uri="{FF2B5EF4-FFF2-40B4-BE49-F238E27FC236}">
                <a16:creationId xmlns:a16="http://schemas.microsoft.com/office/drawing/2014/main" id="{4990236D-F898-A61D-ADA5-AF884FA5DA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3024000"/>
            <a:ext cx="11017250" cy="304800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8pt</a:t>
            </a:r>
          </a:p>
        </p:txBody>
      </p:sp>
      <p:pic>
        <p:nvPicPr>
          <p:cNvPr id="2" name="Immagine 1" descr="Immagine che contiene testo, Carattere, Elementi grafici, logo&#10;&#10;Il contenuto generato dall'IA potrebbe non essere corretto.">
            <a:extLst>
              <a:ext uri="{FF2B5EF4-FFF2-40B4-BE49-F238E27FC236}">
                <a16:creationId xmlns:a16="http://schemas.microsoft.com/office/drawing/2014/main" id="{2C2D120A-E903-446C-86E9-C0B56E2EBC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311" y="772345"/>
            <a:ext cx="3119377" cy="99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031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a"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115193D-A797-B684-E20D-A0CE21255E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92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15193D-A797-B684-E20D-A0CE21255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olo 1">
            <a:extLst>
              <a:ext uri="{FF2B5EF4-FFF2-40B4-BE49-F238E27FC236}">
                <a16:creationId xmlns:a16="http://schemas.microsoft.com/office/drawing/2014/main" id="{72DE5BD9-C2E1-27A6-51B1-D69397CBFF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816225"/>
            <a:ext cx="11017250" cy="720725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ctr">
            <a:noAutofit/>
          </a:bodyPr>
          <a:lstStyle>
            <a:lvl1pPr algn="ctr">
              <a:lnSpc>
                <a:spcPct val="80000"/>
              </a:lnSpc>
              <a:defRPr lang="it-IT" sz="4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Pausa</a:t>
            </a:r>
          </a:p>
        </p:txBody>
      </p:sp>
      <p:pic>
        <p:nvPicPr>
          <p:cNvPr id="2" name="Immagine 1" descr="Immagine che contiene testo, Carattere, Elementi grafici, logo&#10;&#10;Il contenuto generato dall'IA potrebbe non essere corretto.">
            <a:extLst>
              <a:ext uri="{FF2B5EF4-FFF2-40B4-BE49-F238E27FC236}">
                <a16:creationId xmlns:a16="http://schemas.microsoft.com/office/drawing/2014/main" id="{C4BEE0EA-C981-2FC7-0055-50196EDBD3D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311" y="772345"/>
            <a:ext cx="3119377" cy="99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83413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zie - Fine"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115193D-A797-B684-E20D-A0CE21255E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92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15193D-A797-B684-E20D-A0CE21255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1">
            <a:extLst>
              <a:ext uri="{FF2B5EF4-FFF2-40B4-BE49-F238E27FC236}">
                <a16:creationId xmlns:a16="http://schemas.microsoft.com/office/drawing/2014/main" id="{5ECCDFFC-41D9-74D2-9C21-A9728E34A8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816225"/>
            <a:ext cx="11017250" cy="720725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lnSpc>
                <a:spcPct val="80000"/>
              </a:lnSpc>
              <a:defRPr lang="it-IT" sz="4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Grazie - Fine</a:t>
            </a:r>
          </a:p>
        </p:txBody>
      </p:sp>
      <p:pic>
        <p:nvPicPr>
          <p:cNvPr id="2" name="Immagine 1" descr="Immagine che contiene testo, Carattere, Elementi grafici, logo&#10;&#10;Il contenuto generato dall'IA potrebbe non essere corretto.">
            <a:extLst>
              <a:ext uri="{FF2B5EF4-FFF2-40B4-BE49-F238E27FC236}">
                <a16:creationId xmlns:a16="http://schemas.microsoft.com/office/drawing/2014/main" id="{8C0D2FDE-8921-53CC-C05C-59E0541ADB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311" y="772345"/>
            <a:ext cx="3119377" cy="99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354405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diti e Fonti"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82A77A-8F82-065C-B8B7-7CDA4C1BA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291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82A77A-8F82-065C-B8B7-7CDA4C1BA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olo 1">
            <a:extLst>
              <a:ext uri="{FF2B5EF4-FFF2-40B4-BE49-F238E27FC236}">
                <a16:creationId xmlns:a16="http://schemas.microsoft.com/office/drawing/2014/main" id="{FCE51680-43E8-948C-C7C1-3D1D4B3B9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816225"/>
            <a:ext cx="11017250" cy="720725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lnSpc>
                <a:spcPct val="80000"/>
              </a:lnSpc>
              <a:defRPr lang="it-IT" sz="4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Crediti e Fonti</a:t>
            </a:r>
          </a:p>
        </p:txBody>
      </p:sp>
      <p:sp>
        <p:nvSpPr>
          <p:cNvPr id="7" name="Segnaposto testo 1">
            <a:extLst>
              <a:ext uri="{FF2B5EF4-FFF2-40B4-BE49-F238E27FC236}">
                <a16:creationId xmlns:a16="http://schemas.microsoft.com/office/drawing/2014/main" id="{73752DC1-F98C-E677-D44A-C74DB24E8D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375" y="3752849"/>
            <a:ext cx="11017250" cy="225425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it-IT" sz="1200" dirty="0"/>
              <a:t>Titolo del Libro – </a:t>
            </a:r>
            <a:r>
              <a:rPr lang="it-IT" sz="1200" i="1" dirty="0"/>
              <a:t>Autore</a:t>
            </a:r>
          </a:p>
          <a:p>
            <a:r>
              <a:rPr lang="it-IT" sz="1200" dirty="0"/>
              <a:t>URL della fonte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34274389-91B8-5880-86A6-5BA2B001CA3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36311" y="741865"/>
            <a:ext cx="3119377" cy="993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1753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zie - Fine"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115193D-A797-B684-E20D-A0CE21255E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92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15193D-A797-B684-E20D-A0CE21255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1">
            <a:extLst>
              <a:ext uri="{FF2B5EF4-FFF2-40B4-BE49-F238E27FC236}">
                <a16:creationId xmlns:a16="http://schemas.microsoft.com/office/drawing/2014/main" id="{5ECCDFFC-41D9-74D2-9C21-A9728E34A8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816225"/>
            <a:ext cx="11017250" cy="720725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lnSpc>
                <a:spcPct val="80000"/>
              </a:lnSpc>
              <a:defRPr lang="it-IT" sz="4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Grazie - Fine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E8EDA2E7-B0BC-810C-3775-E6492C99D00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36311" y="741865"/>
            <a:ext cx="3119377" cy="993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089435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ertina"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43CA713-CA96-C1F8-AA45-ED4B9F518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481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3CA713-CA96-C1F8-AA45-ED4B9F518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olo 8">
            <a:extLst>
              <a:ext uri="{FF2B5EF4-FFF2-40B4-BE49-F238E27FC236}">
                <a16:creationId xmlns:a16="http://schemas.microsoft.com/office/drawing/2014/main" id="{380F1E52-0DE4-DF73-10EA-921FA7625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433088"/>
            <a:ext cx="9145588" cy="659362"/>
          </a:xfrm>
          <a:prstGeom prst="rect">
            <a:avLst/>
          </a:prstGeom>
        </p:spPr>
        <p:txBody>
          <a:bodyPr vert="horz" lIns="0" tIns="0" rIns="0" bIns="0" anchor="t"/>
          <a:lstStyle>
            <a:lvl1pPr algn="l">
              <a:lnSpc>
                <a:spcPts val="52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0/3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7" name="Segnaposto testo 12">
            <a:extLst>
              <a:ext uri="{FF2B5EF4-FFF2-40B4-BE49-F238E27FC236}">
                <a16:creationId xmlns:a16="http://schemas.microsoft.com/office/drawing/2014/main" id="{EF9920CD-940A-A92B-0AC7-BAFF51A77E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3276600"/>
            <a:ext cx="9145588" cy="3048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6/18 </a:t>
            </a:r>
            <a:r>
              <a:rPr lang="it-IT" dirty="0" err="1"/>
              <a:t>pt</a:t>
            </a:r>
            <a:endParaRPr lang="it-IT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C93C5C6B-2B68-C65D-3D9E-0AD7978EB42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7375" y="741865"/>
            <a:ext cx="3119377" cy="993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3907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82A77A-8F82-065C-B8B7-7CDA4C1BA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291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82A77A-8F82-065C-B8B7-7CDA4C1BA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contenuto 2">
            <a:extLst>
              <a:ext uri="{FF2B5EF4-FFF2-40B4-BE49-F238E27FC236}">
                <a16:creationId xmlns:a16="http://schemas.microsoft.com/office/drawing/2014/main" id="{F577E9D9-D5D0-3B2E-A26E-F4510162187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03950" y="2359330"/>
            <a:ext cx="4944257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aseline="0" smtClean="0">
                <a:solidFill>
                  <a:schemeClr val="tx1"/>
                </a:solidFill>
                <a:latin typeface="+mn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13pt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076AE63-64BF-494A-C473-2133F8A03B6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1172625" y="2359331"/>
            <a:ext cx="432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8C585A7-A24B-480C-C95C-06188B172ED5}"/>
              </a:ext>
            </a:extLst>
          </p:cNvPr>
          <p:cNvSpPr txBox="1"/>
          <p:nvPr userDrawn="1"/>
        </p:nvSpPr>
        <p:spPr>
          <a:xfrm>
            <a:off x="9012238" y="1659492"/>
            <a:ext cx="2592387" cy="2928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it-IT" sz="18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dice</a:t>
            </a:r>
          </a:p>
        </p:txBody>
      </p:sp>
      <p:sp>
        <p:nvSpPr>
          <p:cNvPr id="9" name="Segnaposto contenuto 2">
            <a:extLst>
              <a:ext uri="{FF2B5EF4-FFF2-40B4-BE49-F238E27FC236}">
                <a16:creationId xmlns:a16="http://schemas.microsoft.com/office/drawing/2014/main" id="{7E9A313E-6E42-1603-8E8A-1EC6993E83A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116388" y="2359333"/>
            <a:ext cx="2088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="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3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0" name="Segnaposto contenuto 2">
            <a:extLst>
              <a:ext uri="{FF2B5EF4-FFF2-40B4-BE49-F238E27FC236}">
                <a16:creationId xmlns:a16="http://schemas.microsoft.com/office/drawing/2014/main" id="{C816C16B-43A7-26CE-6730-823D390EBC0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203950" y="2672583"/>
            <a:ext cx="4944257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aseline="0" smtClean="0">
                <a:solidFill>
                  <a:schemeClr val="tx1"/>
                </a:solidFill>
                <a:latin typeface="+mn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13pt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0AF8720-9803-78A2-639B-DCE821C0305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172625" y="2681172"/>
            <a:ext cx="432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B390FA28-3B51-E340-9784-D236B6E3A77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16388" y="2681174"/>
            <a:ext cx="2088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="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3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5A0E3AA-4D00-0DCC-5400-64FB15B5099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03950" y="3003012"/>
            <a:ext cx="4944257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aseline="0" smtClean="0">
                <a:solidFill>
                  <a:schemeClr val="tx1"/>
                </a:solidFill>
                <a:latin typeface="+mn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13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5BB86367-900C-B206-9A58-B196DA2DA27A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1172625" y="3003013"/>
            <a:ext cx="432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DBCCA701-72EF-00AF-019D-B806CE6C705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116388" y="3003015"/>
            <a:ext cx="2088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="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3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741420A7-4186-E34A-E92C-AED9D966561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03950" y="3324853"/>
            <a:ext cx="4944257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aseline="0" smtClean="0">
                <a:solidFill>
                  <a:schemeClr val="tx1"/>
                </a:solidFill>
                <a:latin typeface="+mn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13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F3658761-88CA-1AC1-1247-23668AAFD36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11172625" y="3324854"/>
            <a:ext cx="432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794E12FE-BF6B-DAC7-06F4-7C242843A0D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16388" y="3324856"/>
            <a:ext cx="2088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="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3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7D6C5805-0154-E102-9115-496EBBBCC5CE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03950" y="3646694"/>
            <a:ext cx="4944257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aseline="0" smtClean="0">
                <a:solidFill>
                  <a:schemeClr val="tx1"/>
                </a:solidFill>
                <a:latin typeface="+mn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13pt</a:t>
            </a:r>
          </a:p>
        </p:txBody>
      </p:sp>
      <p:sp>
        <p:nvSpPr>
          <p:cNvPr id="20" name="Segnaposto contenuto 2">
            <a:extLst>
              <a:ext uri="{FF2B5EF4-FFF2-40B4-BE49-F238E27FC236}">
                <a16:creationId xmlns:a16="http://schemas.microsoft.com/office/drawing/2014/main" id="{82B93D6B-589E-195E-D00B-5F66CE2B1527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1172625" y="3646694"/>
            <a:ext cx="432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21" name="Segnaposto contenuto 2">
            <a:extLst>
              <a:ext uri="{FF2B5EF4-FFF2-40B4-BE49-F238E27FC236}">
                <a16:creationId xmlns:a16="http://schemas.microsoft.com/office/drawing/2014/main" id="{A3434869-E484-1834-5281-7E1C2F1AE58C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116388" y="3646696"/>
            <a:ext cx="2088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lang="it-IT" sz="1300" b="0" baseline="0" smtClean="0">
                <a:solidFill>
                  <a:schemeClr val="tx1"/>
                </a:solidFill>
                <a:latin typeface="+mj-lt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13 </a:t>
            </a:r>
            <a:r>
              <a:rPr lang="it-IT" dirty="0" err="1"/>
              <a:t>pt</a:t>
            </a:r>
            <a:endParaRPr lang="it-IT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C4AF9561-F5C8-D60E-EC34-2EE619789AF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7376" y="2359330"/>
            <a:ext cx="2825875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03753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Testo bull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5">
            <a:extLst>
              <a:ext uri="{FF2B5EF4-FFF2-40B4-BE49-F238E27FC236}">
                <a16:creationId xmlns:a16="http://schemas.microsoft.com/office/drawing/2014/main" id="{4F9BF83E-FB31-1F97-DABA-F4E16C16D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9" name="Segnaposto contenuto 2">
            <a:extLst>
              <a:ext uri="{FF2B5EF4-FFF2-40B4-BE49-F238E27FC236}">
                <a16:creationId xmlns:a16="http://schemas.microsoft.com/office/drawing/2014/main" id="{6A9A345B-0D92-BA2F-324D-7D98C899D35D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4" name="Segnaposto testo 4">
            <a:extLst>
              <a:ext uri="{FF2B5EF4-FFF2-40B4-BE49-F238E27FC236}">
                <a16:creationId xmlns:a16="http://schemas.microsoft.com/office/drawing/2014/main" id="{BAA71D41-F037-E171-4256-5C72F266D6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938" y="1449388"/>
            <a:ext cx="11013687" cy="4175125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E85EF876-EFF7-BA23-85CB-E32BC9F245F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6" name="Segnaposto testo 8">
            <a:extLst>
              <a:ext uri="{FF2B5EF4-FFF2-40B4-BE49-F238E27FC236}">
                <a16:creationId xmlns:a16="http://schemas.microsoft.com/office/drawing/2014/main" id="{2FC8BF66-0D6F-B3B8-4610-8B365454548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7065909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o+box colore A">
    <p:bg>
      <p:bgPr>
        <a:solidFill>
          <a:srgbClr val="000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75C11030-4A5E-6007-E1BA-73BA473876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1449389"/>
            <a:ext cx="7272338" cy="417512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buClr>
                <a:schemeClr val="tx2"/>
              </a:buClr>
              <a:buSzPct val="140000"/>
              <a:buFontTx/>
              <a:buNone/>
              <a:defRPr sz="110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625B78F3-D6F0-1D15-9514-6404E4A7CE24}"/>
              </a:ext>
            </a:extLst>
          </p:cNvPr>
          <p:cNvSpPr/>
          <p:nvPr userDrawn="1"/>
        </p:nvSpPr>
        <p:spPr>
          <a:xfrm>
            <a:off x="8075612" y="0"/>
            <a:ext cx="411638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5BBE35B8-90A6-2156-6A38-AFF0BE9C3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7488237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C42F1EC1-711B-582A-D59A-8D57C0C3A333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7488237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9938098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o+box colore B">
    <p:bg>
      <p:bgPr>
        <a:solidFill>
          <a:srgbClr val="000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>
            <a:extLst>
              <a:ext uri="{FF2B5EF4-FFF2-40B4-BE49-F238E27FC236}">
                <a16:creationId xmlns:a16="http://schemas.microsoft.com/office/drawing/2014/main" id="{AC14BF3E-9271-768D-588D-F90525373095}"/>
              </a:ext>
            </a:extLst>
          </p:cNvPr>
          <p:cNvSpPr/>
          <p:nvPr userDrawn="1"/>
        </p:nvSpPr>
        <p:spPr>
          <a:xfrm>
            <a:off x="6096000" y="-11575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51DE029D-2174-2D7B-6D93-557320BC0D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1449389"/>
            <a:ext cx="5203825" cy="417512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buClr>
                <a:schemeClr val="tx2"/>
              </a:buClr>
              <a:buSzPct val="140000"/>
              <a:buFontTx/>
              <a:buNone/>
              <a:defRPr sz="110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3" name="Titolo 5">
            <a:extLst>
              <a:ext uri="{FF2B5EF4-FFF2-40B4-BE49-F238E27FC236}">
                <a16:creationId xmlns:a16="http://schemas.microsoft.com/office/drawing/2014/main" id="{1E232F27-C15F-2B60-0DF4-87B4D306CF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5358315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4F7DA908-7B92-BD88-F2CB-1B341A9E1524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5358315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9441418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o+box colore C">
    <p:bg>
      <p:bgPr>
        <a:solidFill>
          <a:srgbClr val="000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224ABE88-204F-1A84-3B46-836AF78FEB7B}"/>
              </a:ext>
            </a:extLst>
          </p:cNvPr>
          <p:cNvSpPr/>
          <p:nvPr userDrawn="1"/>
        </p:nvSpPr>
        <p:spPr>
          <a:xfrm>
            <a:off x="1589" y="0"/>
            <a:ext cx="411638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4">
            <a:extLst>
              <a:ext uri="{FF2B5EF4-FFF2-40B4-BE49-F238E27FC236}">
                <a16:creationId xmlns:a16="http://schemas.microsoft.com/office/drawing/2014/main" id="{AE512091-9D0D-5479-9B59-E7EC3F8EA5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7857" y="1449389"/>
            <a:ext cx="7272338" cy="417512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buClr>
                <a:schemeClr val="tx2"/>
              </a:buClr>
              <a:buSzPct val="140000"/>
              <a:buFontTx/>
              <a:buNone/>
              <a:defRPr sz="110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7" name="Titolo 5">
            <a:extLst>
              <a:ext uri="{FF2B5EF4-FFF2-40B4-BE49-F238E27FC236}">
                <a16:creationId xmlns:a16="http://schemas.microsoft.com/office/drawing/2014/main" id="{6F597415-5236-C664-8DBE-4426B2F35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7857" y="237787"/>
            <a:ext cx="7488237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8" name="Segnaposto contenuto 2">
            <a:extLst>
              <a:ext uri="{FF2B5EF4-FFF2-40B4-BE49-F238E27FC236}">
                <a16:creationId xmlns:a16="http://schemas.microsoft.com/office/drawing/2014/main" id="{A629C681-ED16-14F5-66AA-5850ABF5B6DC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4437857" y="607550"/>
            <a:ext cx="7488237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7364121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o+box colore D">
    <p:bg>
      <p:bgPr>
        <a:solidFill>
          <a:srgbClr val="000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>
            <a:extLst>
              <a:ext uri="{FF2B5EF4-FFF2-40B4-BE49-F238E27FC236}">
                <a16:creationId xmlns:a16="http://schemas.microsoft.com/office/drawing/2014/main" id="{C17DD072-8E41-DB6A-E094-BC142180412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2D3B22E1-07BB-2863-532B-0135C6F277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4599" y="1449389"/>
            <a:ext cx="5385595" cy="417512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buClr>
                <a:schemeClr val="tx2"/>
              </a:buClr>
              <a:buSzPct val="140000"/>
              <a:buFontTx/>
              <a:buNone/>
              <a:defRPr sz="110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3" name="Titolo 5">
            <a:extLst>
              <a:ext uri="{FF2B5EF4-FFF2-40B4-BE49-F238E27FC236}">
                <a16:creationId xmlns:a16="http://schemas.microsoft.com/office/drawing/2014/main" id="{B7B979BF-90C1-341D-05B2-4F5C881163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0613" y="237787"/>
            <a:ext cx="5545481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E7D3D46F-40CA-200D-3BC3-FF1CAAF12687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380613" y="607550"/>
            <a:ext cx="5545481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73561947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uota">
    <p:bg>
      <p:bgPr>
        <a:solidFill>
          <a:srgbClr val="000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406666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fiche bianca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974B7B43-BE61-4FB1-63E1-A448838944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F210BDBE-CAB4-5520-A9C5-84DC3EF2E8A9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2" name="Segnaposto testo 8">
            <a:extLst>
              <a:ext uri="{FF2B5EF4-FFF2-40B4-BE49-F238E27FC236}">
                <a16:creationId xmlns:a16="http://schemas.microsoft.com/office/drawing/2014/main" id="{49D263F7-A9C6-B2E4-403E-FB52FB57AC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3" name="Segnaposto testo 8">
            <a:extLst>
              <a:ext uri="{FF2B5EF4-FFF2-40B4-BE49-F238E27FC236}">
                <a16:creationId xmlns:a16="http://schemas.microsoft.com/office/drawing/2014/main" id="{F5B7A436-4EA6-E0C3-C7CA-E35F5641726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0005849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+Testo bulltes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5">
            <a:extLst>
              <a:ext uri="{FF2B5EF4-FFF2-40B4-BE49-F238E27FC236}">
                <a16:creationId xmlns:a16="http://schemas.microsoft.com/office/drawing/2014/main" id="{4F9BF83E-FB31-1F97-DABA-F4E16C16D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9" name="Segnaposto contenuto 2">
            <a:extLst>
              <a:ext uri="{FF2B5EF4-FFF2-40B4-BE49-F238E27FC236}">
                <a16:creationId xmlns:a16="http://schemas.microsoft.com/office/drawing/2014/main" id="{6A9A345B-0D92-BA2F-324D-7D98C899D35D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4" name="Segnaposto testo 4">
            <a:extLst>
              <a:ext uri="{FF2B5EF4-FFF2-40B4-BE49-F238E27FC236}">
                <a16:creationId xmlns:a16="http://schemas.microsoft.com/office/drawing/2014/main" id="{D223B531-5501-F889-DA26-D3D8CF70EC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938" y="1449388"/>
            <a:ext cx="11013687" cy="4175125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E62EA038-56AB-5EB4-EA19-E0DA7669E0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6" name="Segnaposto testo 8">
            <a:extLst>
              <a:ext uri="{FF2B5EF4-FFF2-40B4-BE49-F238E27FC236}">
                <a16:creationId xmlns:a16="http://schemas.microsoft.com/office/drawing/2014/main" id="{40631A38-81B6-D0A7-1C40-5233990DAC1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935646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5">
            <a:extLst>
              <a:ext uri="{FF2B5EF4-FFF2-40B4-BE49-F238E27FC236}">
                <a16:creationId xmlns:a16="http://schemas.microsoft.com/office/drawing/2014/main" id="{301413E7-77B0-A7F5-0DA9-4C5A84FF0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61C320A7-8D9B-9324-F94E-CE80101C015F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4" name="Segnaposto testo 8">
            <a:extLst>
              <a:ext uri="{FF2B5EF4-FFF2-40B4-BE49-F238E27FC236}">
                <a16:creationId xmlns:a16="http://schemas.microsoft.com/office/drawing/2014/main" id="{9CAA40BA-1432-0165-754E-24E77780351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7" name="Segnaposto testo 8">
            <a:extLst>
              <a:ext uri="{FF2B5EF4-FFF2-40B4-BE49-F238E27FC236}">
                <a16:creationId xmlns:a16="http://schemas.microsoft.com/office/drawing/2014/main" id="{1E7506A6-D61F-CDE7-23E1-7AFE10EA87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1001128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+Sott. 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5">
            <a:extLst>
              <a:ext uri="{FF2B5EF4-FFF2-40B4-BE49-F238E27FC236}">
                <a16:creationId xmlns:a16="http://schemas.microsoft.com/office/drawing/2014/main" id="{301413E7-77B0-A7F5-0DA9-4C5A84FF0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61C320A7-8D9B-9324-F94E-CE80101C015F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4" name="Segnaposto testo 8">
            <a:extLst>
              <a:ext uri="{FF2B5EF4-FFF2-40B4-BE49-F238E27FC236}">
                <a16:creationId xmlns:a16="http://schemas.microsoft.com/office/drawing/2014/main" id="{BCF91B32-33E5-DA02-5080-A382A442AF1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7" name="Segnaposto testo 8">
            <a:extLst>
              <a:ext uri="{FF2B5EF4-FFF2-40B4-BE49-F238E27FC236}">
                <a16:creationId xmlns:a16="http://schemas.microsoft.com/office/drawing/2014/main" id="{A1B7CDA3-D211-06DF-8CCC-C438BA6F605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4612858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.+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5">
            <a:extLst>
              <a:ext uri="{FF2B5EF4-FFF2-40B4-BE49-F238E27FC236}">
                <a16:creationId xmlns:a16="http://schemas.microsoft.com/office/drawing/2014/main" id="{7D8F391F-9120-3F11-A7A4-C746436C8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17208914-DBD7-1917-DE34-C1AB963AD0D1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0A7C11D9-B095-29C4-FCF0-44BB7EDD57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938" y="1449388"/>
            <a:ext cx="11013687" cy="41751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SzPct val="110000"/>
              <a:buFont typeface="Wingdings" panose="05000000000000000000" pitchFamily="2" charset="2"/>
              <a:buNone/>
              <a:defRPr sz="1200">
                <a:solidFill>
                  <a:schemeClr val="bg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Segnaposto testo 8">
            <a:extLst>
              <a:ext uri="{FF2B5EF4-FFF2-40B4-BE49-F238E27FC236}">
                <a16:creationId xmlns:a16="http://schemas.microsoft.com/office/drawing/2014/main" id="{E5A95486-AE12-F06E-2652-708B90B71D6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8" name="Segnaposto testo 8">
            <a:extLst>
              <a:ext uri="{FF2B5EF4-FFF2-40B4-BE49-F238E27FC236}">
                <a16:creationId xmlns:a16="http://schemas.microsoft.com/office/drawing/2014/main" id="{B66A935D-1292-267B-255A-7BA7C53EB1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8483241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+Sott.+Testo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5">
            <a:extLst>
              <a:ext uri="{FF2B5EF4-FFF2-40B4-BE49-F238E27FC236}">
                <a16:creationId xmlns:a16="http://schemas.microsoft.com/office/drawing/2014/main" id="{7D8F391F-9120-3F11-A7A4-C746436C8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37787"/>
            <a:ext cx="11017250" cy="3323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sz="2400" b="0">
                <a:solidFill>
                  <a:schemeClr val="bg1"/>
                </a:solidFill>
                <a:latin typeface="+mj-lt"/>
                <a:ea typeface="Urbanist SemiBold" panose="020B0A04040200000203" pitchFamily="34" charset="0"/>
                <a:cs typeface="Urbanist SemiBold" panose="020B0A04040200000203" pitchFamily="34" charset="0"/>
              </a:defRPr>
            </a:lvl1pPr>
          </a:lstStyle>
          <a:p>
            <a:r>
              <a:rPr lang="it-IT" dirty="0"/>
              <a:t>Titolo </a:t>
            </a:r>
            <a:r>
              <a:rPr lang="it-IT" dirty="0" err="1"/>
              <a:t>Urbanist</a:t>
            </a:r>
            <a:r>
              <a:rPr lang="it-IT" dirty="0"/>
              <a:t> semi </a:t>
            </a:r>
            <a:r>
              <a:rPr lang="it-IT" dirty="0" err="1"/>
              <a:t>bold</a:t>
            </a:r>
            <a:r>
              <a:rPr lang="it-IT" dirty="0"/>
              <a:t> 24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17208914-DBD7-1917-DE34-C1AB963AD0D1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87375" y="607550"/>
            <a:ext cx="11017250" cy="21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spcBef>
                <a:spcPct val="0"/>
              </a:spcBef>
              <a:defRPr lang="it-IT" sz="1200" b="0" smtClean="0">
                <a:solidFill>
                  <a:schemeClr val="bg1"/>
                </a:solidFill>
                <a:latin typeface="Urbanist" panose="020B0A04040200000203" pitchFamily="34" charset="0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</a:t>
            </a:r>
            <a:r>
              <a:rPr lang="it-IT" dirty="0" err="1"/>
              <a:t>Urbanist</a:t>
            </a:r>
            <a:r>
              <a:rPr lang="it-IT" dirty="0"/>
              <a:t>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46490BCE-D7DC-D2EE-E221-8F1099E70D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938" y="1449388"/>
            <a:ext cx="11013687" cy="41751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SzPct val="110000"/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+mn-lt"/>
                <a:ea typeface="Urbanist" panose="020B0A04040200000203" pitchFamily="34" charset="0"/>
                <a:cs typeface="Urbanist" panose="020B0A04040200000203" pitchFamily="34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</a:t>
            </a:r>
            <a:r>
              <a:rPr lang="it-IT" dirty="0" err="1"/>
              <a:t>Urbanist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Segnaposto testo 8">
            <a:extLst>
              <a:ext uri="{FF2B5EF4-FFF2-40B4-BE49-F238E27FC236}">
                <a16:creationId xmlns:a16="http://schemas.microsoft.com/office/drawing/2014/main" id="{ED6A2B7D-88EA-BA0B-B2D5-D827C970C1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02254" y="6381178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Formato data GG/MESE/AA</a:t>
            </a:r>
          </a:p>
        </p:txBody>
      </p:sp>
      <p:sp>
        <p:nvSpPr>
          <p:cNvPr id="8" name="Segnaposto testo 8">
            <a:extLst>
              <a:ext uri="{FF2B5EF4-FFF2-40B4-BE49-F238E27FC236}">
                <a16:creationId xmlns:a16="http://schemas.microsoft.com/office/drawing/2014/main" id="{4EF8DB8C-FA77-BA17-70E3-012D5613EF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02254" y="6512623"/>
            <a:ext cx="516064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Titolo presentazione |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91653531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jp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8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EFF3839-A8C6-FD70-7EDE-D9ED638148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611423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606" imgH="608" progId="TCLayout.ActiveDocument.1">
                  <p:embed/>
                </p:oleObj>
              </mc:Choice>
              <mc:Fallback>
                <p:oleObj name="think-cell Slide" r:id="rId49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FF3839-A8C6-FD70-7EDE-D9ED63814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Number">
            <a:extLst>
              <a:ext uri="{FF2B5EF4-FFF2-40B4-BE49-F238E27FC236}">
                <a16:creationId xmlns:a16="http://schemas.microsoft.com/office/drawing/2014/main" id="{042F0E83-F6DE-28A1-1F94-233AECA7EB85}"/>
              </a:ext>
            </a:extLst>
          </p:cNvPr>
          <p:cNvSpPr/>
          <p:nvPr userDrawn="1"/>
        </p:nvSpPr>
        <p:spPr bwMode="gray">
          <a:xfrm>
            <a:off x="11604625" y="6518425"/>
            <a:ext cx="216000" cy="153888"/>
          </a:xfrm>
          <a:prstGeom prst="roundRect">
            <a:avLst>
              <a:gd name="adj" fmla="val 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indent="0" algn="l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1000" b="1" i="0" baseline="0" smtClean="0">
                <a:solidFill>
                  <a:schemeClr val="bg1"/>
                </a:solidFill>
                <a:latin typeface="+mj-lt"/>
              </a:rPr>
              <a:pPr marL="0" indent="0" algn="l" defTabSz="711200" rtl="0" eaLnBrk="1" latinLnBrk="0" hangingPunct="1">
                <a:spcBef>
                  <a:spcPts val="1200"/>
                </a:spcBef>
                <a:buNone/>
              </a:pPr>
              <a:t>‹N›</a:t>
            </a:fld>
            <a:endParaRPr lang="en-US" sz="1000" b="1" i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0165B845-64EB-44EC-050B-5956036B0C4E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1804" y="6129381"/>
            <a:ext cx="985197" cy="657107"/>
          </a:xfrm>
          <a:prstGeom prst="rect">
            <a:avLst/>
          </a:prstGeom>
        </p:spPr>
      </p:pic>
      <p:pic>
        <p:nvPicPr>
          <p:cNvPr id="4" name="Immagine 3" descr="Immagine che contiene testo, Carattere, Elementi grafici, logo&#10;&#10;Il contenuto generato dall'IA potrebbe non essere corretto.">
            <a:extLst>
              <a:ext uri="{FF2B5EF4-FFF2-40B4-BE49-F238E27FC236}">
                <a16:creationId xmlns:a16="http://schemas.microsoft.com/office/drawing/2014/main" id="{26875E3F-2D75-15C7-59CE-5B95575BF028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69"/>
          <a:stretch/>
        </p:blipFill>
        <p:spPr>
          <a:xfrm>
            <a:off x="589980" y="6277934"/>
            <a:ext cx="140356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77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4095" r:id="rId2"/>
    <p:sldLayoutId id="2147483821" r:id="rId3"/>
    <p:sldLayoutId id="2147483739" r:id="rId4"/>
    <p:sldLayoutId id="2147484094" r:id="rId5"/>
    <p:sldLayoutId id="2147483790" r:id="rId6"/>
    <p:sldLayoutId id="2147484096" r:id="rId7"/>
    <p:sldLayoutId id="2147483811" r:id="rId8"/>
    <p:sldLayoutId id="2147484097" r:id="rId9"/>
    <p:sldLayoutId id="2147483855" r:id="rId10"/>
    <p:sldLayoutId id="2147484098" r:id="rId11"/>
    <p:sldLayoutId id="2147483851" r:id="rId12"/>
    <p:sldLayoutId id="2147483853" r:id="rId13"/>
    <p:sldLayoutId id="2147483854" r:id="rId14"/>
    <p:sldLayoutId id="2147483886" r:id="rId15"/>
    <p:sldLayoutId id="2147483887" r:id="rId16"/>
    <p:sldLayoutId id="2147483812" r:id="rId17"/>
    <p:sldLayoutId id="2147484099" r:id="rId18"/>
    <p:sldLayoutId id="2147483791" r:id="rId19"/>
    <p:sldLayoutId id="2147483815" r:id="rId20"/>
    <p:sldLayoutId id="2147483937" r:id="rId21"/>
    <p:sldLayoutId id="2147484103" r:id="rId22"/>
    <p:sldLayoutId id="2147483938" r:id="rId23"/>
    <p:sldLayoutId id="2147484104" r:id="rId24"/>
    <p:sldLayoutId id="2147484081" r:id="rId25"/>
    <p:sldLayoutId id="2147484082" r:id="rId26"/>
    <p:sldLayoutId id="2147483804" r:id="rId27"/>
    <p:sldLayoutId id="2147483806" r:id="rId28"/>
    <p:sldLayoutId id="2147484100" r:id="rId29"/>
    <p:sldLayoutId id="2147484084" r:id="rId30"/>
    <p:sldLayoutId id="2147484083" r:id="rId31"/>
    <p:sldLayoutId id="2147484037" r:id="rId32"/>
    <p:sldLayoutId id="2147484080" r:id="rId33"/>
    <p:sldLayoutId id="2147484039" r:id="rId34"/>
    <p:sldLayoutId id="2147484085" r:id="rId35"/>
    <p:sldLayoutId id="2147484086" r:id="rId36"/>
    <p:sldLayoutId id="2147484102" r:id="rId37"/>
    <p:sldLayoutId id="2147484044" r:id="rId38"/>
    <p:sldLayoutId id="2147484043" r:id="rId39"/>
    <p:sldLayoutId id="2147484065" r:id="rId40"/>
    <p:sldLayoutId id="2147484088" r:id="rId41"/>
    <p:sldLayoutId id="2147484089" r:id="rId42"/>
    <p:sldLayoutId id="2147484090" r:id="rId43"/>
    <p:sldLayoutId id="2147484087" r:id="rId44"/>
    <p:sldLayoutId id="2147484101" r:id="rId45"/>
  </p:sldLayoutIdLst>
  <p:transition/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Montserrat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Montserrat" pitchFamily="2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Montserrat" pitchFamily="2" charset="0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Montserrat" pitchFamily="2" charset="0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Montserrat" pitchFamily="2" charset="0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Montserra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93">
          <p15:clr>
            <a:srgbClr val="9FCC3B"/>
          </p15:clr>
        </p15:guide>
        <p15:guide id="5" pos="7310">
          <p15:clr>
            <a:srgbClr val="9FCC3B"/>
          </p15:clr>
        </p15:guide>
        <p15:guide id="6" pos="370">
          <p15:clr>
            <a:srgbClr val="9FCC3B"/>
          </p15:clr>
        </p15:guide>
        <p15:guide id="7" orient="horz" pos="459">
          <p15:clr>
            <a:srgbClr val="F26B43"/>
          </p15:clr>
        </p15:guide>
        <p15:guide id="8" orient="horz" pos="595">
          <p15:clr>
            <a:srgbClr val="F26B43"/>
          </p15:clr>
        </p15:guide>
        <p15:guide id="9" orient="horz" pos="913">
          <p15:clr>
            <a:srgbClr val="F26B43"/>
          </p15:clr>
        </p15:guide>
        <p15:guide id="10" orient="horz" pos="3543">
          <p15:clr>
            <a:srgbClr val="F26B43"/>
          </p15:clr>
        </p15:guide>
        <p15:guide id="14" pos="5019">
          <p15:clr>
            <a:srgbClr val="F26B43"/>
          </p15:clr>
        </p15:guide>
        <p15:guide id="15" pos="2729">
          <p15:clr>
            <a:srgbClr val="9FCC3B"/>
          </p15:clr>
        </p15:guide>
        <p15:guide id="19" pos="3840">
          <p15:clr>
            <a:srgbClr val="F26B43"/>
          </p15:clr>
        </p15:guide>
        <p15:guide id="20" pos="2661">
          <p15:clr>
            <a:srgbClr val="F26B43"/>
          </p15:clr>
        </p15:guide>
        <p15:guide id="21" pos="4951">
          <p15:clr>
            <a:srgbClr val="9FCC3B"/>
          </p15:clr>
        </p15:guide>
        <p15:guide id="22" pos="5087">
          <p15:clr>
            <a:srgbClr val="9FCC3B"/>
          </p15:clr>
        </p15:guide>
        <p15:guide id="23" orient="horz" pos="2228">
          <p15:clr>
            <a:srgbClr val="F26B43"/>
          </p15:clr>
        </p15:guide>
        <p15:guide id="24" orient="horz" pos="4247">
          <p15:clr>
            <a:srgbClr val="F26B43"/>
          </p15:clr>
        </p15:guide>
        <p15:guide id="26" orient="horz" pos="3997">
          <p15:clr>
            <a:srgbClr val="F26B43"/>
          </p15:clr>
        </p15:guide>
        <p15:guide id="27" pos="2139">
          <p15:clr>
            <a:srgbClr val="9FCC3B"/>
          </p15:clr>
        </p15:guide>
        <p15:guide id="28" pos="6720">
          <p15:clr>
            <a:srgbClr val="9FCC3B"/>
          </p15:clr>
        </p15:guide>
        <p15:guide id="29" pos="2003">
          <p15:clr>
            <a:srgbClr val="9FCC3B"/>
          </p15:clr>
        </p15:guide>
        <p15:guide id="30" pos="1549">
          <p15:clr>
            <a:srgbClr val="9FCC3B"/>
          </p15:clr>
        </p15:guide>
        <p15:guide id="31" pos="1413">
          <p15:clr>
            <a:srgbClr val="9FCC3B"/>
          </p15:clr>
        </p15:guide>
        <p15:guide id="32" pos="960">
          <p15:clr>
            <a:srgbClr val="9FCC3B"/>
          </p15:clr>
        </p15:guide>
        <p15:guide id="33" pos="824">
          <p15:clr>
            <a:srgbClr val="9FCC3B"/>
          </p15:clr>
        </p15:guide>
        <p15:guide id="34" pos="5541">
          <p15:clr>
            <a:srgbClr val="9FCC3B"/>
          </p15:clr>
        </p15:guide>
        <p15:guide id="35" pos="5677">
          <p15:clr>
            <a:srgbClr val="9FCC3B"/>
          </p15:clr>
        </p15:guide>
        <p15:guide id="36" pos="6131">
          <p15:clr>
            <a:srgbClr val="9FCC3B"/>
          </p15:clr>
        </p15:guide>
        <p15:guide id="37" pos="6267">
          <p15:clr>
            <a:srgbClr val="9FCC3B"/>
          </p15:clr>
        </p15:guide>
        <p15:guide id="38" pos="6199">
          <p15:clr>
            <a:srgbClr val="F26B43"/>
          </p15:clr>
        </p15:guide>
        <p15:guide id="39" pos="1481">
          <p15:clr>
            <a:srgbClr val="F26B43"/>
          </p15:clr>
        </p15:guide>
        <p15:guide id="40" pos="6856">
          <p15:clr>
            <a:srgbClr val="9FCC3B"/>
          </p15:clr>
        </p15:guide>
        <p15:guide id="41" orient="horz" pos="1049">
          <p15:clr>
            <a:srgbClr val="F26B43"/>
          </p15:clr>
        </p15:guide>
        <p15:guide id="42" orient="horz" pos="1185">
          <p15:clr>
            <a:srgbClr val="F26B43"/>
          </p15:clr>
        </p15:guide>
        <p15:guide id="43" orient="horz" pos="1638">
          <p15:clr>
            <a:srgbClr val="F26B43"/>
          </p15:clr>
        </p15:guide>
        <p15:guide id="44" orient="horz" pos="1774">
          <p15:clr>
            <a:srgbClr val="F26B43"/>
          </p15:clr>
        </p15:guide>
        <p15:guide id="45" orient="horz" pos="2364">
          <p15:clr>
            <a:srgbClr val="F26B43"/>
          </p15:clr>
        </p15:guide>
        <p15:guide id="46" orient="horz" pos="2818">
          <p15:clr>
            <a:srgbClr val="F26B43"/>
          </p15:clr>
        </p15:guide>
        <p15:guide id="47" orient="horz" pos="2954">
          <p15:clr>
            <a:srgbClr val="F26B43"/>
          </p15:clr>
        </p15:guide>
        <p15:guide id="48" orient="horz" pos="3407">
          <p15:clr>
            <a:srgbClr val="F26B43"/>
          </p15:clr>
        </p15:guide>
        <p15:guide id="49" orient="horz" pos="3861">
          <p15:clr>
            <a:srgbClr val="F26B43"/>
          </p15:clr>
        </p15:guide>
        <p15:guide id="50" pos="3772">
          <p15:clr>
            <a:srgbClr val="9FCC3B"/>
          </p15:clr>
        </p15:guide>
        <p15:guide id="51" pos="3908">
          <p15:clr>
            <a:srgbClr val="9FCC3B"/>
          </p15:clr>
        </p15:guide>
        <p15:guide id="52" pos="4362">
          <p15:clr>
            <a:srgbClr val="9FCC3B"/>
          </p15:clr>
        </p15:guide>
        <p15:guide id="53" pos="4498">
          <p15:clr>
            <a:srgbClr val="9FCC3B"/>
          </p15:clr>
        </p15:guide>
        <p15:guide id="54" pos="3318">
          <p15:clr>
            <a:srgbClr val="9FCC3B"/>
          </p15:clr>
        </p15:guide>
        <p15:guide id="55" pos="3182">
          <p15:clr>
            <a:srgbClr val="9FCC3B"/>
          </p15:clr>
        </p15:guide>
        <p15:guide id="56" orient="horz" pos="323">
          <p15:clr>
            <a:srgbClr val="F26B43"/>
          </p15:clr>
        </p15:guide>
        <p15:guide id="57" pos="892">
          <p15:clr>
            <a:srgbClr val="F26B43"/>
          </p15:clr>
        </p15:guide>
        <p15:guide id="58" pos="2071">
          <p15:clr>
            <a:srgbClr val="F26B43"/>
          </p15:clr>
        </p15:guide>
        <p15:guide id="59" pos="3250">
          <p15:clr>
            <a:srgbClr val="F26B43"/>
          </p15:clr>
        </p15:guide>
        <p15:guide id="60" pos="4430">
          <p15:clr>
            <a:srgbClr val="F26B43"/>
          </p15:clr>
        </p15:guide>
        <p15:guide id="61" pos="5609">
          <p15:clr>
            <a:srgbClr val="F26B43"/>
          </p15:clr>
        </p15:guide>
        <p15:guide id="62" pos="67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9CD49376-346B-356D-643C-B837FED28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239365"/>
            <a:ext cx="11017250" cy="2379269"/>
          </a:xfrm>
        </p:spPr>
        <p:txBody>
          <a:bodyPr/>
          <a:lstStyle/>
          <a:p>
            <a:r>
              <a:rPr lang="it-IT"/>
              <a:t>DIREZIONE REGIONALE </a:t>
            </a:r>
            <a:r>
              <a:rPr lang="it-IT" dirty="0"/>
              <a:t>LIGURIA</a:t>
            </a:r>
            <a:br>
              <a:rPr lang="it-IT" dirty="0"/>
            </a:br>
            <a:br>
              <a:rPr lang="it-IT" dirty="0"/>
            </a:br>
            <a:r>
              <a:rPr lang="it-IT" dirty="0"/>
              <a:t>Nuova offerta Genova – Milano</a:t>
            </a:r>
            <a:br>
              <a:rPr lang="it-IT" dirty="0"/>
            </a:br>
            <a:r>
              <a:rPr lang="it-IT" dirty="0"/>
              <a:t> </a:t>
            </a:r>
            <a:br>
              <a:rPr lang="it-IT" dirty="0"/>
            </a:br>
            <a:r>
              <a:rPr lang="it-IT" dirty="0"/>
              <a:t>ORARIO 2026</a:t>
            </a:r>
            <a:endParaRPr lang="it-IT" sz="2000" dirty="0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4D84B044-C53B-70C5-EA98-0062967AB9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6553200"/>
            <a:ext cx="12093934" cy="304800"/>
          </a:xfrm>
        </p:spPr>
        <p:txBody>
          <a:bodyPr anchor="t"/>
          <a:lstStyle/>
          <a:p>
            <a:pPr algn="r"/>
            <a:r>
              <a:rPr lang="it-IT" dirty="0"/>
              <a:t>Novembre 2025</a:t>
            </a:r>
          </a:p>
        </p:txBody>
      </p:sp>
    </p:spTree>
    <p:extLst>
      <p:ext uri="{BB962C8B-B14F-4D97-AF65-F5344CB8AC3E}">
        <p14:creationId xmlns:p14="http://schemas.microsoft.com/office/powerpoint/2010/main" val="167645407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CC5035-477A-F8F2-0F53-03BC7DA5B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048C524-5FAB-5C9E-0894-9FEDF58EA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60" y="283466"/>
            <a:ext cx="11017250" cy="332399"/>
          </a:xfrm>
        </p:spPr>
        <p:txBody>
          <a:bodyPr/>
          <a:lstStyle/>
          <a:p>
            <a:r>
              <a:rPr lang="it-IT" b="1" dirty="0"/>
              <a:t>Aumento offerta collegamenti Genova - Milano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8DAF4C05-378E-ED98-C553-3A78B31CFB9B}"/>
              </a:ext>
            </a:extLst>
          </p:cNvPr>
          <p:cNvSpPr txBox="1"/>
          <p:nvPr/>
        </p:nvSpPr>
        <p:spPr>
          <a:xfrm>
            <a:off x="-351690" y="873746"/>
            <a:ext cx="12388359" cy="5080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4250" lvl="1" algn="just"/>
            <a:r>
              <a:rPr lang="it-IT" sz="1600" dirty="0"/>
              <a:t>Grazie alla sottoscrizione del Protocollo di Intesa per la programmazione coordinata dei servizi ferroviari sottoscritto lo scorso mese di luglio dalle Regioni Liguria, Lombardia e Piemonte al fine del potenziamento dei collegamenti interregionali, è stato possibile programmare un importante aumento di offerta sulla direttrice Genova – Milano, che sarà oggetto di un Atto integrativo al Contratto di Servizio 2018/2032.</a:t>
            </a:r>
          </a:p>
          <a:p>
            <a:pPr marL="434250" lvl="1" algn="just"/>
            <a:endParaRPr lang="it-IT" sz="1600" dirty="0"/>
          </a:p>
          <a:p>
            <a:pPr marL="434250" lvl="1" algn="just"/>
            <a:r>
              <a:rPr lang="it-IT" sz="1600" dirty="0"/>
              <a:t>Si passerà dalla frequenza di un treno ogni 2 ore al </a:t>
            </a:r>
            <a:r>
              <a:rPr lang="it-IT" sz="1600" b="1" i="1" dirty="0"/>
              <a:t>cadenzamento orario</a:t>
            </a:r>
            <a:r>
              <a:rPr lang="it-IT" sz="1600" dirty="0"/>
              <a:t>, con nuovi treni che faranno capolinea a Milano Greco Pirelli, estendendo di 2 h (fino alle 22) la fascia oraria di copertura dei collegamenti:</a:t>
            </a:r>
          </a:p>
          <a:p>
            <a:pPr marL="434250" lvl="1"/>
            <a:endParaRPr lang="it-IT" sz="1200" i="1" dirty="0"/>
          </a:p>
          <a:p>
            <a:pPr marL="434250" lvl="1" algn="ctr"/>
            <a:r>
              <a:rPr lang="it-IT" sz="2000" b="1" i="1" dirty="0"/>
              <a:t>una vera svolta nell’offerta dei servizi di trasporto tra i 2 capoluoghi di Regione! </a:t>
            </a:r>
            <a:endParaRPr lang="it-IT" sz="2000" b="1" dirty="0">
              <a:ea typeface="Times New Roman" panose="02020603050405020304" pitchFamily="18" charset="0"/>
            </a:endParaRPr>
          </a:p>
          <a:p>
            <a:pPr marL="742950" lvl="1" indent="-285750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it-IT" sz="800" dirty="0">
              <a:solidFill>
                <a:srgbClr val="000200"/>
              </a:solidFill>
            </a:endParaRPr>
          </a:p>
          <a:p>
            <a:pPr lvl="1" algn="just">
              <a:lnSpc>
                <a:spcPct val="115000"/>
              </a:lnSpc>
            </a:pPr>
            <a:endParaRPr lang="it-IT" sz="1600" dirty="0">
              <a:solidFill>
                <a:srgbClr val="000200"/>
              </a:solidFill>
            </a:endParaRPr>
          </a:p>
          <a:p>
            <a:pPr marL="742950" lvl="1" indent="-285750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it-IT" sz="1600" dirty="0">
                <a:solidFill>
                  <a:srgbClr val="000200"/>
                </a:solidFill>
              </a:rPr>
              <a:t>            Un totale di </a:t>
            </a:r>
            <a:r>
              <a:rPr lang="it-IT" sz="1600" b="1" dirty="0">
                <a:solidFill>
                  <a:srgbClr val="DC002E">
                    <a:lumMod val="75000"/>
                  </a:srgbClr>
                </a:solidFill>
              </a:rPr>
              <a:t>14 nuovi treni con i collegamenti giornalieri che passano da 16* a 30 </a:t>
            </a:r>
            <a:r>
              <a:rPr lang="it-IT" sz="1600" dirty="0">
                <a:solidFill>
                  <a:srgbClr val="000200"/>
                </a:solidFill>
              </a:rPr>
              <a:t>per un totale di circolazioni settimanali che   		        aumentano da 108 a 210</a:t>
            </a:r>
          </a:p>
          <a:p>
            <a:pPr marL="742950" lvl="1" indent="-285750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it-IT" sz="1600" b="1" dirty="0">
              <a:solidFill>
                <a:srgbClr val="DC002E">
                  <a:lumMod val="75000"/>
                </a:srgbClr>
              </a:solidFill>
            </a:endParaRPr>
          </a:p>
          <a:p>
            <a:pPr lvl="1" algn="just"/>
            <a:r>
              <a:rPr lang="it-IT" sz="1600" dirty="0">
                <a:solidFill>
                  <a:srgbClr val="000200"/>
                </a:solidFill>
              </a:rPr>
              <a:t>Grazie ai nuovi treni, che saranno prevalentemente instradati via Busalla/Isola del Cantone, verranno effettuati con treni bipiano di ultima generazione della tipologia Rock e copriranno la tratta Principe – Rogoredo con tempi medi di percorrenza inferiori alle 2h, si otterrà:</a:t>
            </a:r>
          </a:p>
          <a:p>
            <a:pPr lvl="1" algn="just"/>
            <a:endParaRPr lang="it-IT" sz="1600" dirty="0">
              <a:solidFill>
                <a:srgbClr val="000200"/>
              </a:solidFill>
            </a:endParaRP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600" b="1" dirty="0">
                <a:solidFill>
                  <a:srgbClr val="000200"/>
                </a:solidFill>
              </a:rPr>
              <a:t>posti a sedere/giorno: 19.200</a:t>
            </a:r>
          </a:p>
          <a:p>
            <a:pPr lvl="1" algn="just"/>
            <a:endParaRPr lang="it-IT" sz="1600" dirty="0">
              <a:solidFill>
                <a:srgbClr val="000200"/>
              </a:solidFill>
            </a:endParaRP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600" b="1" dirty="0">
                <a:solidFill>
                  <a:srgbClr val="000200"/>
                </a:solidFill>
              </a:rPr>
              <a:t>treni*km/settimana:</a:t>
            </a:r>
            <a:r>
              <a:rPr lang="it-IT" sz="1600" dirty="0">
                <a:solidFill>
                  <a:srgbClr val="000200"/>
                </a:solidFill>
              </a:rPr>
              <a:t> </a:t>
            </a:r>
            <a:r>
              <a:rPr lang="it-IT" sz="1600" b="1" dirty="0">
                <a:solidFill>
                  <a:srgbClr val="000200"/>
                </a:solidFill>
              </a:rPr>
              <a:t>33.900</a:t>
            </a:r>
            <a:r>
              <a:rPr lang="it-IT" sz="1600" dirty="0">
                <a:solidFill>
                  <a:srgbClr val="000200"/>
                </a:solidFill>
              </a:rPr>
              <a:t> </a:t>
            </a:r>
          </a:p>
          <a:p>
            <a:pPr marL="742950" lvl="1" indent="-285750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it-IT" sz="1600" b="1" dirty="0">
              <a:solidFill>
                <a:srgbClr val="C00000"/>
              </a:solidFill>
            </a:endParaRPr>
          </a:p>
        </p:txBody>
      </p:sp>
      <p:pic>
        <p:nvPicPr>
          <p:cNvPr id="16" name="Elemento grafico 15" descr="Treno con riempimento a tinta unita">
            <a:extLst>
              <a:ext uri="{FF2B5EF4-FFF2-40B4-BE49-F238E27FC236}">
                <a16:creationId xmlns:a16="http://schemas.microsoft.com/office/drawing/2014/main" id="{A08080B6-FBE0-FF24-A201-6B6FEE8F16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810" y="3328543"/>
            <a:ext cx="557522" cy="452239"/>
          </a:xfrm>
          <a:prstGeom prst="rect">
            <a:avLst/>
          </a:prstGeom>
        </p:spPr>
      </p:pic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E197ACE0-0558-3825-ED72-72AB51069CE5}"/>
              </a:ext>
            </a:extLst>
          </p:cNvPr>
          <p:cNvSpPr txBox="1"/>
          <p:nvPr/>
        </p:nvSpPr>
        <p:spPr>
          <a:xfrm>
            <a:off x="3837638" y="4747511"/>
            <a:ext cx="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i="1"/>
              <a:t>+ 90%</a:t>
            </a:r>
            <a:endParaRPr lang="it-IT" sz="2400" b="1" i="1" dirty="0"/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BB5EC515-949A-2B94-E9DC-CE320EFD8570}"/>
              </a:ext>
            </a:extLst>
          </p:cNvPr>
          <p:cNvSpPr txBox="1"/>
          <p:nvPr/>
        </p:nvSpPr>
        <p:spPr>
          <a:xfrm>
            <a:off x="3742226" y="5233532"/>
            <a:ext cx="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i="1" dirty="0"/>
              <a:t>+ 75%</a:t>
            </a:r>
            <a:endParaRPr lang="it-IT" sz="1200" b="1" i="1" dirty="0"/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85FDD778-43A7-3211-BC76-2928DA2014E7}"/>
              </a:ext>
            </a:extLst>
          </p:cNvPr>
          <p:cNvSpPr/>
          <p:nvPr/>
        </p:nvSpPr>
        <p:spPr>
          <a:xfrm>
            <a:off x="448810" y="2509935"/>
            <a:ext cx="11093412" cy="452239"/>
          </a:xfrm>
          <a:prstGeom prst="round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 dirty="0"/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A5397087-6E0A-651F-E7A3-1BA0FD714167}"/>
              </a:ext>
            </a:extLst>
          </p:cNvPr>
          <p:cNvSpPr txBox="1"/>
          <p:nvPr/>
        </p:nvSpPr>
        <p:spPr>
          <a:xfrm>
            <a:off x="158722" y="5866130"/>
            <a:ext cx="66757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/>
              <a:t>**  per un aumento complessivo pari a circa 750.000 treni*km all’anno rispetto all’offerta prevista da </a:t>
            </a:r>
            <a:r>
              <a:rPr lang="it-IT" sz="800" i="1" dirty="0" err="1"/>
              <a:t>CdS</a:t>
            </a:r>
            <a:r>
              <a:rPr lang="it-IT" sz="800" i="1" dirty="0"/>
              <a:t> </a:t>
            </a: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5EE20DE0-B202-6734-965D-DAC3E1057826}"/>
              </a:ext>
            </a:extLst>
          </p:cNvPr>
          <p:cNvSpPr txBox="1"/>
          <p:nvPr/>
        </p:nvSpPr>
        <p:spPr>
          <a:xfrm>
            <a:off x="163252" y="5701716"/>
            <a:ext cx="35330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/>
              <a:t>*  rispetto all’offerta prevista da </a:t>
            </a:r>
            <a:r>
              <a:rPr lang="it-IT" sz="800" i="1" dirty="0" err="1"/>
              <a:t>CdS</a:t>
            </a:r>
            <a:r>
              <a:rPr lang="it-IT" sz="800" i="1" dirty="0"/>
              <a:t> 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3DE66CC5-E0C4-782D-6C59-0088318884DF}"/>
              </a:ext>
            </a:extLst>
          </p:cNvPr>
          <p:cNvSpPr txBox="1"/>
          <p:nvPr/>
        </p:nvSpPr>
        <p:spPr>
          <a:xfrm>
            <a:off x="4513743" y="5256998"/>
            <a:ext cx="3561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/>
              <a:t>**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EB96436-47F1-1B50-0AE3-BC0C74A326EA}"/>
              </a:ext>
            </a:extLst>
          </p:cNvPr>
          <p:cNvSpPr txBox="1"/>
          <p:nvPr/>
        </p:nvSpPr>
        <p:spPr>
          <a:xfrm>
            <a:off x="3885344" y="3512056"/>
            <a:ext cx="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i="1" dirty="0"/>
              <a:t>+ 95%</a:t>
            </a:r>
          </a:p>
        </p:txBody>
      </p:sp>
      <p:sp>
        <p:nvSpPr>
          <p:cNvPr id="10" name="Freccia a destra 9">
            <a:extLst>
              <a:ext uri="{FF2B5EF4-FFF2-40B4-BE49-F238E27FC236}">
                <a16:creationId xmlns:a16="http://schemas.microsoft.com/office/drawing/2014/main" id="{2508A9E2-0D3E-6443-E3D6-9DBAF4328D1D}"/>
              </a:ext>
            </a:extLst>
          </p:cNvPr>
          <p:cNvSpPr/>
          <p:nvPr/>
        </p:nvSpPr>
        <p:spPr>
          <a:xfrm>
            <a:off x="3095637" y="4830482"/>
            <a:ext cx="664212" cy="295725"/>
          </a:xfrm>
          <a:prstGeom prst="rightArrow">
            <a:avLst/>
          </a:prstGeom>
          <a:solidFill>
            <a:srgbClr val="A50021">
              <a:alpha val="63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1" name="Freccia a destra 10">
            <a:extLst>
              <a:ext uri="{FF2B5EF4-FFF2-40B4-BE49-F238E27FC236}">
                <a16:creationId xmlns:a16="http://schemas.microsoft.com/office/drawing/2014/main" id="{7A8F1B29-E155-D538-FD0B-22B7432D0931}"/>
              </a:ext>
            </a:extLst>
          </p:cNvPr>
          <p:cNvSpPr/>
          <p:nvPr/>
        </p:nvSpPr>
        <p:spPr>
          <a:xfrm>
            <a:off x="3000225" y="5332405"/>
            <a:ext cx="664212" cy="295725"/>
          </a:xfrm>
          <a:prstGeom prst="rightArrow">
            <a:avLst/>
          </a:prstGeom>
          <a:solidFill>
            <a:srgbClr val="A50021">
              <a:alpha val="63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Freccia a destra 6">
            <a:extLst>
              <a:ext uri="{FF2B5EF4-FFF2-40B4-BE49-F238E27FC236}">
                <a16:creationId xmlns:a16="http://schemas.microsoft.com/office/drawing/2014/main" id="{5BDEB397-7041-E298-811C-6434ABAB353E}"/>
              </a:ext>
            </a:extLst>
          </p:cNvPr>
          <p:cNvSpPr/>
          <p:nvPr/>
        </p:nvSpPr>
        <p:spPr>
          <a:xfrm>
            <a:off x="3176269" y="3593162"/>
            <a:ext cx="664212" cy="295725"/>
          </a:xfrm>
          <a:prstGeom prst="rightArrow">
            <a:avLst/>
          </a:prstGeom>
          <a:solidFill>
            <a:srgbClr val="A50021">
              <a:alpha val="63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5130097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D6AFEC7-C68F-527D-7841-A12A33DAE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538" y="341154"/>
            <a:ext cx="11017250" cy="332399"/>
          </a:xfrm>
        </p:spPr>
        <p:txBody>
          <a:bodyPr/>
          <a:lstStyle/>
          <a:p>
            <a:r>
              <a:rPr lang="it-IT" b="1" dirty="0"/>
              <a:t>Nuovi servizi da e per il nodo di Milano</a:t>
            </a:r>
            <a:endParaRPr lang="it-IT" dirty="0"/>
          </a:p>
        </p:txBody>
      </p:sp>
      <p:pic>
        <p:nvPicPr>
          <p:cNvPr id="7" name="Elemento grafico 6" descr="Decollo con riempimento a tinta unita">
            <a:extLst>
              <a:ext uri="{FF2B5EF4-FFF2-40B4-BE49-F238E27FC236}">
                <a16:creationId xmlns:a16="http://schemas.microsoft.com/office/drawing/2014/main" id="{7767076A-965A-CFDC-B859-F10566BFD1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0853" y="3871583"/>
            <a:ext cx="1487262" cy="1328292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551D5A1F-1E38-00AF-1CF3-D7024A81B964}"/>
              </a:ext>
            </a:extLst>
          </p:cNvPr>
          <p:cNvSpPr txBox="1"/>
          <p:nvPr/>
        </p:nvSpPr>
        <p:spPr>
          <a:xfrm>
            <a:off x="1895631" y="3934025"/>
            <a:ext cx="9912056" cy="1147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>
              <a:lnSpc>
                <a:spcPts val="2800"/>
              </a:lnSpc>
            </a:pPr>
            <a:r>
              <a:rPr lang="it-IT" sz="2000" dirty="0"/>
              <a:t>La nuova offerta garantirà inoltre un </a:t>
            </a:r>
            <a:r>
              <a:rPr lang="it-IT" sz="2000" b="1" dirty="0"/>
              <a:t>nuovo e agevole collegamento da Genova all’aeroporto di Milano Linate </a:t>
            </a:r>
            <a:r>
              <a:rPr lang="it-IT" sz="2000" dirty="0"/>
              <a:t>grazie alla nuova fermata di Milano Forlanini (che permette l’interscambio con la metro 4) che sarà servita dai 14 nuovi treni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07EC961D-6CB6-8FFB-3AA9-788B004CA16E}"/>
              </a:ext>
            </a:extLst>
          </p:cNvPr>
          <p:cNvSpPr txBox="1"/>
          <p:nvPr/>
        </p:nvSpPr>
        <p:spPr>
          <a:xfrm>
            <a:off x="250853" y="1094059"/>
            <a:ext cx="11851032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/>
            <a:r>
              <a:rPr lang="it-IT" sz="2400" b="1" dirty="0"/>
              <a:t>NUOVE OPPORTUNITA’ DI  COLLEGAMENTI CON IL NODO MILANESE:</a:t>
            </a:r>
          </a:p>
          <a:p>
            <a:pPr marL="0" lvl="1" algn="just"/>
            <a:endParaRPr lang="it-IT" sz="1400" b="1" dirty="0"/>
          </a:p>
          <a:p>
            <a:pPr marL="0" lvl="1" algn="just"/>
            <a:endParaRPr lang="it-IT" sz="600" dirty="0">
              <a:ln w="0"/>
              <a:solidFill>
                <a:sysClr val="windowText" lastClr="0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0" lvl="1" algn="just"/>
            <a:r>
              <a:rPr lang="it-IT" sz="1600" dirty="0"/>
              <a:t>Alle 8 storiche coppie di treni regionali che collegano Genova e la Liguria con le stazioni di:</a:t>
            </a:r>
          </a:p>
          <a:p>
            <a:pPr marL="0" lvl="1" algn="just"/>
            <a:endParaRPr lang="it-IT" sz="600" dirty="0"/>
          </a:p>
          <a:p>
            <a:pPr marL="0" lvl="1" algn="just"/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  <a:sym typeface="Wingdings" panose="05000000000000000000" pitchFamily="2" charset="2"/>
              </a:rPr>
              <a:t>Milano </a:t>
            </a:r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</a:rPr>
              <a:t>Rogoredo </a:t>
            </a:r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  <a:sym typeface="Wingdings" panose="05000000000000000000" pitchFamily="2" charset="2"/>
              </a:rPr>
              <a:t> Milano </a:t>
            </a:r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</a:rPr>
              <a:t>Lambrate </a:t>
            </a:r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  <a:sym typeface="Wingdings" panose="05000000000000000000" pitchFamily="2" charset="2"/>
              </a:rPr>
              <a:t> Milano </a:t>
            </a:r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</a:rPr>
              <a:t>Centrale</a:t>
            </a:r>
          </a:p>
          <a:p>
            <a:pPr marL="0" lvl="1" algn="just"/>
            <a:endParaRPr lang="it-IT" sz="2400" dirty="0">
              <a:ln w="0"/>
              <a:solidFill>
                <a:sysClr val="windowText" lastClr="0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ea typeface="+mn-ea"/>
              <a:cs typeface="+mn-cs"/>
            </a:endParaRPr>
          </a:p>
          <a:p>
            <a:pPr marL="0" lvl="1" algn="just"/>
            <a:r>
              <a:rPr lang="it-IT" sz="1600" dirty="0"/>
              <a:t>si aggiungono le nuove 7 coppie di treni che collegheranno il capoluogo ligure con le stazioni di:</a:t>
            </a:r>
          </a:p>
          <a:p>
            <a:pPr marL="0" lvl="1" algn="just"/>
            <a:endParaRPr lang="it-IT" sz="600" dirty="0"/>
          </a:p>
          <a:p>
            <a:pPr marL="0" lvl="1" algn="just"/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  <a:sym typeface="Wingdings" panose="05000000000000000000" pitchFamily="2" charset="2"/>
              </a:rPr>
              <a:t>Milano Rogoredo  Milano </a:t>
            </a:r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</a:rPr>
              <a:t>Forlanini </a:t>
            </a:r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  <a:sym typeface="Wingdings" panose="05000000000000000000" pitchFamily="2" charset="2"/>
              </a:rPr>
              <a:t> Milano </a:t>
            </a:r>
            <a:r>
              <a:rPr lang="it-IT" sz="2000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n-ea"/>
                <a:cs typeface="+mn-cs"/>
              </a:rPr>
              <a:t>Greco Pirelli</a:t>
            </a:r>
            <a:endParaRPr lang="it-IT" sz="2000" dirty="0">
              <a:ln w="0"/>
              <a:solidFill>
                <a:sysClr val="windowText" lastClr="0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6A06E359-1B68-16D2-29A9-C448AD7E98BF}"/>
              </a:ext>
            </a:extLst>
          </p:cNvPr>
          <p:cNvSpPr/>
          <p:nvPr/>
        </p:nvSpPr>
        <p:spPr>
          <a:xfrm>
            <a:off x="250853" y="1094059"/>
            <a:ext cx="11556834" cy="452239"/>
          </a:xfrm>
          <a:prstGeom prst="round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 dirty="0"/>
          </a:p>
        </p:txBody>
      </p:sp>
    </p:spTree>
    <p:extLst>
      <p:ext uri="{BB962C8B-B14F-4D97-AF65-F5344CB8AC3E}">
        <p14:creationId xmlns:p14="http://schemas.microsoft.com/office/powerpoint/2010/main" val="409117914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157D18-F0D2-EAB1-47FC-CFC6229965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olo 13">
            <a:extLst>
              <a:ext uri="{FF2B5EF4-FFF2-40B4-BE49-F238E27FC236}">
                <a16:creationId xmlns:a16="http://schemas.microsoft.com/office/drawing/2014/main" id="{8B15A518-2E70-0307-48C5-45445FDFD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08787"/>
            <a:ext cx="11017250" cy="389209"/>
          </a:xfrm>
        </p:spPr>
        <p:txBody>
          <a:bodyPr/>
          <a:lstStyle/>
          <a:p>
            <a:r>
              <a:rPr lang="it-IT" sz="2800" b="1" dirty="0">
                <a:solidFill>
                  <a:srgbClr val="FFFFFF"/>
                </a:solidFill>
                <a:latin typeface="Aptos Display" panose="02110004020202020204"/>
              </a:rPr>
              <a:t>Quadro orario completo – direzione Genova – Milano </a:t>
            </a:r>
            <a:r>
              <a:rPr lang="it-IT" sz="2000" b="1" dirty="0">
                <a:solidFill>
                  <a:srgbClr val="FFFFFF"/>
                </a:solidFill>
                <a:latin typeface="Aptos Display" panose="02110004020202020204"/>
              </a:rPr>
              <a:t>(REG, IC, FB)</a:t>
            </a:r>
            <a:endParaRPr lang="it-IT" sz="2000" dirty="0">
              <a:solidFill>
                <a:srgbClr val="FFFFFF"/>
              </a:solidFill>
            </a:endParaRP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EE767834-D586-1246-3C2E-8A18B066AB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0200820"/>
              </p:ext>
            </p:extLst>
          </p:nvPr>
        </p:nvGraphicFramePr>
        <p:xfrm>
          <a:off x="1049572" y="954158"/>
          <a:ext cx="8984974" cy="4977529"/>
        </p:xfrm>
        <a:graphic>
          <a:graphicData uri="http://schemas.openxmlformats.org/drawingml/2006/table">
            <a:tbl>
              <a:tblPr/>
              <a:tblGrid>
                <a:gridCol w="686525">
                  <a:extLst>
                    <a:ext uri="{9D8B030D-6E8A-4147-A177-3AD203B41FA5}">
                      <a16:colId xmlns:a16="http://schemas.microsoft.com/office/drawing/2014/main" val="1288066580"/>
                    </a:ext>
                  </a:extLst>
                </a:gridCol>
                <a:gridCol w="686525">
                  <a:extLst>
                    <a:ext uri="{9D8B030D-6E8A-4147-A177-3AD203B41FA5}">
                      <a16:colId xmlns:a16="http://schemas.microsoft.com/office/drawing/2014/main" val="4271420756"/>
                    </a:ext>
                  </a:extLst>
                </a:gridCol>
                <a:gridCol w="1712056">
                  <a:extLst>
                    <a:ext uri="{9D8B030D-6E8A-4147-A177-3AD203B41FA5}">
                      <a16:colId xmlns:a16="http://schemas.microsoft.com/office/drawing/2014/main" val="2296579261"/>
                    </a:ext>
                  </a:extLst>
                </a:gridCol>
                <a:gridCol w="762442">
                  <a:extLst>
                    <a:ext uri="{9D8B030D-6E8A-4147-A177-3AD203B41FA5}">
                      <a16:colId xmlns:a16="http://schemas.microsoft.com/office/drawing/2014/main" val="2376260212"/>
                    </a:ext>
                  </a:extLst>
                </a:gridCol>
                <a:gridCol w="1183640">
                  <a:extLst>
                    <a:ext uri="{9D8B030D-6E8A-4147-A177-3AD203B41FA5}">
                      <a16:colId xmlns:a16="http://schemas.microsoft.com/office/drawing/2014/main" val="744120309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3718027743"/>
                    </a:ext>
                  </a:extLst>
                </a:gridCol>
                <a:gridCol w="848360">
                  <a:extLst>
                    <a:ext uri="{9D8B030D-6E8A-4147-A177-3AD203B41FA5}">
                      <a16:colId xmlns:a16="http://schemas.microsoft.com/office/drawing/2014/main" val="881201853"/>
                    </a:ext>
                  </a:extLst>
                </a:gridCol>
                <a:gridCol w="2038626">
                  <a:extLst>
                    <a:ext uri="{9D8B030D-6E8A-4147-A177-3AD203B41FA5}">
                      <a16:colId xmlns:a16="http://schemas.microsoft.com/office/drawing/2014/main" val="1955686551"/>
                    </a:ext>
                  </a:extLst>
                </a:gridCol>
              </a:tblGrid>
              <a:tr h="17248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Treno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categoria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>
                          <a:effectLst/>
                          <a:latin typeface="Calibri" panose="020F0502020204030204" pitchFamily="34" charset="0"/>
                        </a:rPr>
                        <a:t>Origin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Partenza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Orario da Genova PP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Destinazion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Arrivo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Periodicit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8586287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3016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Sestri Levant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04:3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05:4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7:3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959401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65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6:4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8:2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2484067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301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6:4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6:53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9:1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1381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5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7: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8:4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916555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VENTIMIGLIA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5:0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7:53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9:3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4855911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5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8: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0:03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414455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6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9:1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0:5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062490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26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0:5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11:0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3:1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847535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11: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2:5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239884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2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1:3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1:5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3:3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8960125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66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2: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3:5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140853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3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P.PRINC.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3:0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13:0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5:1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4907632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74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3: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5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07555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 3071 - 303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Albenga / GENOVA BRIGNO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2:06 / 13:36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3:4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15:3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A e FES / Circola LU-V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3523484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7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5:5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6260544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3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P.PRINC.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5:0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15:0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7:1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3094564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36 - 307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SAVONA /Albenga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3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5:4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17:3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LU-VE / circola SA e FES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928150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6: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7:5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3704798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3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P.PRINC.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7:0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7:0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9:1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6954173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3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85" marR="5385" marT="538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7: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18:5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475123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79 / 304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mperia / GENOVA BRIGNO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5:49 / 17:36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7:4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9:3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A e FES / Circola LU-V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7065498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8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85" marR="5385" marT="538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1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20:03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4803209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4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P.PRINC.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51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51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1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102965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862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FB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9:03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0:4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6574634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9:2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03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9786641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4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9:36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9:4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3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4942402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0:1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0942473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46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P.PRINC.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0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0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3:1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1987234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39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22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2:5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288855"/>
                  </a:ext>
                </a:extLst>
              </a:tr>
              <a:tr h="1601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48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Albenga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0:1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44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3:35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2003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521658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3F2D2-BCB5-5965-2536-40A26E8E6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olo 13">
            <a:extLst>
              <a:ext uri="{FF2B5EF4-FFF2-40B4-BE49-F238E27FC236}">
                <a16:creationId xmlns:a16="http://schemas.microsoft.com/office/drawing/2014/main" id="{975FAB15-40BC-36A2-87F1-713AE0957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08787"/>
            <a:ext cx="11017250" cy="389209"/>
          </a:xfrm>
        </p:spPr>
        <p:txBody>
          <a:bodyPr/>
          <a:lstStyle/>
          <a:p>
            <a:r>
              <a:rPr lang="it-IT" sz="2800" b="1" dirty="0">
                <a:solidFill>
                  <a:srgbClr val="FFFFFF"/>
                </a:solidFill>
                <a:latin typeface="Aptos Display" panose="02110004020202020204"/>
              </a:rPr>
              <a:t>Quadro orario completo – direzione Milano – Genova </a:t>
            </a:r>
            <a:r>
              <a:rPr lang="it-IT" sz="2000" b="1" dirty="0">
                <a:solidFill>
                  <a:srgbClr val="FFFFFF"/>
                </a:solidFill>
                <a:latin typeface="Aptos Display" panose="02110004020202020204"/>
              </a:rPr>
              <a:t>(REG, IC, FB)</a:t>
            </a:r>
            <a:endParaRPr lang="it-IT" sz="2000" dirty="0">
              <a:solidFill>
                <a:srgbClr val="FFFFFF"/>
              </a:solidFill>
            </a:endParaRPr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3E303096-F3A9-978E-CE94-28D0FE9839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2626922"/>
              </p:ext>
            </p:extLst>
          </p:nvPr>
        </p:nvGraphicFramePr>
        <p:xfrm>
          <a:off x="503583" y="935371"/>
          <a:ext cx="11399520" cy="5038455"/>
        </p:xfrm>
        <a:graphic>
          <a:graphicData uri="http://schemas.openxmlformats.org/drawingml/2006/table">
            <a:tbl>
              <a:tblPr/>
              <a:tblGrid>
                <a:gridCol w="1073426">
                  <a:extLst>
                    <a:ext uri="{9D8B030D-6E8A-4147-A177-3AD203B41FA5}">
                      <a16:colId xmlns:a16="http://schemas.microsoft.com/office/drawing/2014/main" val="3715757333"/>
                    </a:ext>
                  </a:extLst>
                </a:gridCol>
                <a:gridCol w="850789">
                  <a:extLst>
                    <a:ext uri="{9D8B030D-6E8A-4147-A177-3AD203B41FA5}">
                      <a16:colId xmlns:a16="http://schemas.microsoft.com/office/drawing/2014/main" val="3067429437"/>
                    </a:ext>
                  </a:extLst>
                </a:gridCol>
                <a:gridCol w="1415333">
                  <a:extLst>
                    <a:ext uri="{9D8B030D-6E8A-4147-A177-3AD203B41FA5}">
                      <a16:colId xmlns:a16="http://schemas.microsoft.com/office/drawing/2014/main" val="2390529882"/>
                    </a:ext>
                  </a:extLst>
                </a:gridCol>
                <a:gridCol w="666400">
                  <a:extLst>
                    <a:ext uri="{9D8B030D-6E8A-4147-A177-3AD203B41FA5}">
                      <a16:colId xmlns:a16="http://schemas.microsoft.com/office/drawing/2014/main" val="4231052463"/>
                    </a:ext>
                  </a:extLst>
                </a:gridCol>
                <a:gridCol w="1250808">
                  <a:extLst>
                    <a:ext uri="{9D8B030D-6E8A-4147-A177-3AD203B41FA5}">
                      <a16:colId xmlns:a16="http://schemas.microsoft.com/office/drawing/2014/main" val="1667082925"/>
                    </a:ext>
                  </a:extLst>
                </a:gridCol>
                <a:gridCol w="2368545">
                  <a:extLst>
                    <a:ext uri="{9D8B030D-6E8A-4147-A177-3AD203B41FA5}">
                      <a16:colId xmlns:a16="http://schemas.microsoft.com/office/drawing/2014/main" val="672076508"/>
                    </a:ext>
                  </a:extLst>
                </a:gridCol>
                <a:gridCol w="1137036">
                  <a:extLst>
                    <a:ext uri="{9D8B030D-6E8A-4147-A177-3AD203B41FA5}">
                      <a16:colId xmlns:a16="http://schemas.microsoft.com/office/drawing/2014/main" val="82731520"/>
                    </a:ext>
                  </a:extLst>
                </a:gridCol>
                <a:gridCol w="2637183">
                  <a:extLst>
                    <a:ext uri="{9D8B030D-6E8A-4147-A177-3AD203B41FA5}">
                      <a16:colId xmlns:a16="http://schemas.microsoft.com/office/drawing/2014/main" val="3511514530"/>
                    </a:ext>
                  </a:extLst>
                </a:gridCol>
              </a:tblGrid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Treno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categoria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Origin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Partenza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Orario a Genova PP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Destinazion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Arrivo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effectLst/>
                          <a:latin typeface="Calibri" panose="020F0502020204030204" pitchFamily="34" charset="0"/>
                        </a:rPr>
                        <a:t>Periodicit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7832922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651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06:1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7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075486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13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6:2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8:16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8:31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376855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7:1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8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9573130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08:0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9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5006226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15 / 3063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07:4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10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Sestri Levant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1:23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LU-VE / Circola SA e FES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75755"/>
                  </a:ext>
                </a:extLst>
              </a:tr>
              <a:tr h="298005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57 /3069 /3017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8:2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0:25 /10:18 /10:2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P.PRINC. / GE BRIGNOLE / SAVONA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0:25 / 10:27 /11:57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abato / Circola Festivi / Circola LU-V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182477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9:1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0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466786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37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1:1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2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49684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2:1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3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7415479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23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1:4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P.PRINC.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923084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2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2:2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18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27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1146511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861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FB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3:1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3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3544318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0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5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3991444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27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3:4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6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GENOVA P.PRINC.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6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807079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2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4:2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6:18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Albenga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23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3649715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41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5:1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6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5492247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73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6:0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7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5942709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31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5:4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P.PRINC.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761601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33 /3073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6:2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18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BRIGNOLE /Savona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27 /19:2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LU-VE / Circola SA e FES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47279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7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7:0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5048486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7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0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9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5985739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3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7:4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0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P.PRINC.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0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744531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37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8:2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0:18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20:3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93686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8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9:0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0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457780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0:0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44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7687242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3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19:4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2:02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2:1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83146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41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0:2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22:18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Alassio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3:5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9905655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IC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1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2:40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3877323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43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.GRECO PIRELLI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1:4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3:51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3:59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3183524"/>
                  </a:ext>
                </a:extLst>
              </a:tr>
              <a:tr h="15783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304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REG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MILANO CENTRA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2:0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23:57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GENOVA BRIGNOL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0" i="0" u="none" strike="noStrike">
                          <a:effectLst/>
                          <a:latin typeface="Calibri" panose="020F0502020204030204" pitchFamily="34" charset="0"/>
                        </a:rPr>
                        <a:t>00:05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Circola sempre</a:t>
                      </a:r>
                    </a:p>
                  </a:txBody>
                  <a:tcPr marL="5615" marR="5615" marT="56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3384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703392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10.0.19045.0"/>
  <p:tag name="AS_RELEASE_DATE" val="2023.02.14"/>
  <p:tag name="AS_TITLE" val="Aspose.Slides for .NET 4.0 Client Profile"/>
  <p:tag name="AS_VERSION" val="23.2"/>
  <p:tag name="BTFPCOLUMNGUIDE" val="Client"/>
  <p:tag name="MEKKOFORMATS" val="&lt;MekkoFormats&gt;&lt;NumberFormat DecimalSeparator=&quot;,&quot; ThousandSeparator=&quot;.&quot; NegativeNumberFormat=&quot;1&quot; /&gt;&lt;DateFormat CultureID=&quot;1040&quot; FormatString=&quot;M/d/yyyy&quot; /&gt;&lt;Font&gt;&lt;Output_Font_Name Default=&quot;Arial&quot; UsePPTTheme=&quot;True&quot; /&gt;&lt;FarEast_Output_Font_Name Default=&quot;Montserrat&quot; UsePPTTheme=&quot;True&quot; RotateAndFlipEnabled=&quot;False&quot; /&gt;&lt;/Font&gt;&lt;/MekkoFormats&gt;"/>
  <p:tag name="THINKCELLPRESENTATIONDONOTDELETE" val="&lt;?xml version=&quot;1.0&quot; encoding=&quot;UTF-16&quot; standalone=&quot;yes&quot;?&gt;&lt;root reqver=&quot;30783&quot;&gt;&lt;version val=&quot;367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3.84177969962943199889E+00&quot;&gt;&lt;m_msothmcolidx val=&quot;0&quot;/&gt;&lt;m_rgb r=&quot;2D&quot; g=&quot;79&quot; b=&quot;79&quot;/&gt;&lt;/elem&gt;&lt;elem m_fUsage=&quot;2.13485777196046955240E+00&quot;&gt;&lt;m_msothmcolidx val=&quot;16&quot;/&gt;&lt;/elem&gt;&lt;elem m_fUsage=&quot;1.38835619733177595414E+00&quot;&gt;&lt;m_msothmcolidx val=&quot;15&quot;/&gt;&lt;/elem&gt;&lt;elem m_fUsage=&quot;1.16957904668626189171E+00&quot;&gt;&lt;m_msothmcolidx val=&quot;0&quot;/&gt;&lt;m_rgb r=&quot;00&quot; g=&quot;66&quot; b=&quot;5B&quot;/&gt;&lt;/elem&gt;&lt;elem m_fUsage=&quot;6.29102003531936349034E-01&quot;&gt;&lt;m_msothmcolidx val=&quot;0&quot;/&gt;&lt;m_rgb r=&quot;10&quot; g=&quot;4C&quot; b=&quot;3E&quot;/&gt;&lt;/elem&gt;&lt;elem m_fUsage=&quot;3.09492700672785836513E-01&quot;&gt;&lt;m_msothmcolidx val=&quot;0&quot;/&gt;&lt;m_rgb r=&quot;00&quot; g=&quot;66&quot; b=&quot;66&quot;/&gt;&lt;/elem&gt;&lt;elem m_fUsage=&quot;2.53234140407924912530E-01&quot;&gt;&lt;m_msothmcolidx val=&quot;0&quot;/&gt;&lt;m_rgb r=&quot;19&quot; g=&quot;62&quot; b=&quot;61&quot;/&gt;&lt;/elem&gt;&lt;elem m_fUsage=&quot;2.40185623042582951925E-01&quot;&gt;&lt;m_msothmcolidx val=&quot;6&quot;/&gt;&lt;/elem&gt;&lt;elem m_fUsage=&quot;1.24705495197033663229E-02&quot;&gt;&lt;m_msothmcolidx val=&quot;0&quot;/&gt;&lt;m_rgb r=&quot;B9&quot; g=&quot;B9&quot; b=&quot;B9&quot;/&gt;&lt;/elem&gt;&lt;elem m_fUsage=&quot;3.75710212613636698742E-03&quot;&gt;&lt;m_msothmcolidx val=&quot;5&quot;/&gt;&lt;/elem&gt;&lt;elem m_fUsage=&quot;3.38139191352273020194E-03&quot;&gt;&lt;m_msothmcolidx val=&quot;0&quot;/&gt;&lt;m_rgb r=&quot;B7&quot; g=&quot;1D&quot; b=&quot;3E&quot;/&gt;&lt;/elem&gt;&lt;elem m_fUsage=&quot;3.04325272217045731185E-03&quot;&gt;&lt;m_msothmcolidx val=&quot;0&quot;/&gt;&lt;m_rgb r=&quot;5B&quot; g=&quot;5B&quot; b=&quot;5B&quot;/&gt;&lt;/elem&gt;&lt;elem m_fUsage=&quot;2.95740195048180666906E-03&quot;&gt;&lt;m_msothmcolidx val=&quot;0&quot;/&gt;&lt;m_rgb r=&quot;C5&quot; g=&quot;C5&quot; b=&quot;C5&quot;/&gt;&lt;/elem&gt;&lt;elem m_fUsage=&quot;2.46503470495807071317E-03&quot;&gt;&lt;m_msothmcolidx val=&quot;0&quot;/&gt;&lt;m_rgb r=&quot;4A&quot; g=&quot;7E&quot; b=&quot;24&quot;/&gt;&lt;/elem&gt;&lt;elem m_fUsage=&quot;2.29759935191594386397E-03&quot;&gt;&lt;m_msothmcolidx val=&quot;0&quot;/&gt;&lt;m_rgb r=&quot;D5&quot; g=&quot;D5&quot; b=&quot;D5&quot;/&gt;&lt;/elem&gt;&lt;elem m_fUsage=&quot;6.07725367181250397328E-04&quot;&gt;&lt;m_msothmcolidx val=&quot;0&quot;/&gt;&lt;m_rgb r=&quot;EC&quot; g=&quot;EC&quot; b=&quot;EC&quot;/&gt;&lt;/elem&gt;&lt;elem m_fUsage=&quot;3.69988485035127590266E-04&quot;&gt;&lt;m_msothmcolidx val=&quot;0&quot;/&gt;&lt;m_rgb r=&quot;C3&quot; g=&quot;CF&quot; b=&quot;E1&quot;/&gt;&lt;/elem&gt;&lt;elem m_fUsage=&quot;3.55223959603890161556E-04&quot;&gt;&lt;m_msothmcolidx val=&quot;0&quot;/&gt;&lt;m_rgb r=&quot;6B&quot; g=&quot;61&quot; b=&quot;9B&quot;/&gt;&lt;/elem&gt;&lt;elem m_fUsage=&quot;3.32989636531614858345E-04&quot;&gt;&lt;m_msothmcolidx val=&quot;0&quot;/&gt;&lt;m_rgb r=&quot;88&quot; g=&quot;6B&quot; b=&quot;AB&quot;/&gt;&lt;/elem&gt;&lt;elem m_fUsage=&quot;2.42749445031547234118E-04&quot;&gt;&lt;m_msothmcolidx val=&quot;0&quot;/&gt;&lt;m_rgb r=&quot;CF&quot; g=&quot;CF&quot; b=&quot;CF&quot;/&gt;&lt;/elem&gt;&lt;elem m_fUsage=&quot;1.93321077849571395027E-04&quot;&gt;&lt;m_msothmcolidx val=&quot;0&quot;/&gt;&lt;m_rgb r=&quot;C2&quot; g=&quot;BA&quot; b=&quot;C1&quot;/&gt;&lt;/elem&gt;&lt;elem m_fUsage=&quot;1.76964345427997940801E-04&quot;&gt;&lt;m_msothmcolidx val=&quot;0&quot;/&gt;&lt;m_rgb r=&quot;EA&quot; g=&quot;EA&quot; b=&quot;EA&quot;/&gt;&lt;/elem&gt;&lt;elem m_fUsage=&quot;1.60818845874607138213E-04&quot;&gt;&lt;m_msothmcolidx val=&quot;0&quot;/&gt;&lt;m_rgb r=&quot;9A&quot; g=&quot;9A&quot; b=&quot;9A&quot;/&gt;&lt;/elem&gt;&lt;elem m_fUsage=&quot;1.04495676331778526973E-04&quot;&gt;&lt;m_msothmcolidx val=&quot;0&quot;/&gt;&lt;m_rgb r=&quot;C7&quot; g=&quot;C7&quot; b=&quot;C7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">
  <a:themeElements>
    <a:clrScheme name="FS Palette">
      <a:dk1>
        <a:srgbClr val="3C3C3B"/>
      </a:dk1>
      <a:lt1>
        <a:srgbClr val="F2F2F2"/>
      </a:lt1>
      <a:dk2>
        <a:srgbClr val="9A8C98"/>
      </a:dk2>
      <a:lt2>
        <a:srgbClr val="F9B122"/>
      </a:lt2>
      <a:accent1>
        <a:srgbClr val="DD052B"/>
      </a:accent1>
      <a:accent2>
        <a:srgbClr val="00665B"/>
      </a:accent2>
      <a:accent3>
        <a:srgbClr val="9A94BC"/>
      </a:accent3>
      <a:accent4>
        <a:srgbClr val="F75C03"/>
      </a:accent4>
      <a:accent5>
        <a:srgbClr val="B91372"/>
      </a:accent5>
      <a:accent6>
        <a:srgbClr val="1B9AAA"/>
      </a:accent6>
      <a:hlink>
        <a:srgbClr val="9A8C98"/>
      </a:hlink>
      <a:folHlink>
        <a:srgbClr val="C9ADA7"/>
      </a:folHlink>
    </a:clrScheme>
    <a:fontScheme name="Gruppo FS">
      <a:majorFont>
        <a:latin typeface="Urbanist SemiBold"/>
        <a:ea typeface="Montserrat Medium"/>
        <a:cs typeface="Arial"/>
      </a:majorFont>
      <a:minorFont>
        <a:latin typeface="Urbanist"/>
        <a:ea typeface="Montserrat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FS_PowerPoint_Template.potx" id="{720C31AE-1FDB-4220-AAA5-57D0F5F114AD}" vid="{08EA87E6-7767-4D26-A275-316863A6EA69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Calibri" panose="020F0502020204030204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7fd5df9-8cc8-484c-8e4e-6d3331b1adbb">
      <Terms xmlns="http://schemas.microsoft.com/office/infopath/2007/PartnerControls"/>
    </lcf76f155ced4ddcb4097134ff3c332f>
    <TaxCatchAll xmlns="ba670469-b113-4afe-9231-513d1d646cf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13C8E1CBF8C9C478FBCA521FF5AE747" ma:contentTypeVersion="18" ma:contentTypeDescription="Creare un nuovo documento." ma:contentTypeScope="" ma:versionID="289ee8623dc34c6b1da953b9b7899132">
  <xsd:schema xmlns:xsd="http://www.w3.org/2001/XMLSchema" xmlns:xs="http://www.w3.org/2001/XMLSchema" xmlns:p="http://schemas.microsoft.com/office/2006/metadata/properties" xmlns:ns2="a7fd5df9-8cc8-484c-8e4e-6d3331b1adbb" xmlns:ns3="ba670469-b113-4afe-9231-513d1d646cf5" targetNamespace="http://schemas.microsoft.com/office/2006/metadata/properties" ma:root="true" ma:fieldsID="b97e275f808c7468c2596a6c2f512933" ns2:_="" ns3:_="">
    <xsd:import namespace="a7fd5df9-8cc8-484c-8e4e-6d3331b1adbb"/>
    <xsd:import namespace="ba670469-b113-4afe-9231-513d1d646c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fd5df9-8cc8-484c-8e4e-6d3331b1ad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Tag immagine" ma:readOnly="false" ma:fieldId="{5cf76f15-5ced-4ddc-b409-7134ff3c332f}" ma:taxonomyMulti="true" ma:sspId="2f0c148f-5ca2-4a38-b716-16d776545e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670469-b113-4afe-9231-513d1d646cf5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776a6a5-9fed-4023-9e12-77de4acfe5ed}" ma:internalName="TaxCatchAll" ma:showField="CatchAllData" ma:web="ba670469-b113-4afe-9231-513d1d646c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16F286-7A2B-4E47-ADD7-AE163144B31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B5C0E3A-B9D4-49CC-A52E-DBD9B558B03B}">
  <ds:schemaRefs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ba670469-b113-4afe-9231-513d1d646cf5"/>
    <ds:schemaRef ds:uri="http://schemas.microsoft.com/office/infopath/2007/PartnerControls"/>
    <ds:schemaRef ds:uri="http://purl.org/dc/terms/"/>
    <ds:schemaRef ds:uri="a7fd5df9-8cc8-484c-8e4e-6d3331b1adb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B163192-FF41-4941-9D56-9895C62220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fd5df9-8cc8-484c-8e4e-6d3331b1adbb"/>
    <ds:schemaRef ds:uri="ba670469-b113-4afe-9231-513d1d646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S_PowerPoint_Template</Template>
  <TotalTime>7949</TotalTime>
  <Words>1160</Words>
  <Application>Microsoft Office PowerPoint</Application>
  <PresentationFormat>Widescreen</PresentationFormat>
  <Paragraphs>534</Paragraphs>
  <Slides>5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6" baseType="lpstr">
      <vt:lpstr>Aptos Display</vt:lpstr>
      <vt:lpstr>Arial</vt:lpstr>
      <vt:lpstr>Calibri</vt:lpstr>
      <vt:lpstr>Montserrat</vt:lpstr>
      <vt:lpstr>Times New Roman</vt:lpstr>
      <vt:lpstr>Urbanist</vt:lpstr>
      <vt:lpstr>Urbanist Black</vt:lpstr>
      <vt:lpstr>Urbanist SemiBold</vt:lpstr>
      <vt:lpstr>Wingdings</vt:lpstr>
      <vt:lpstr>Master </vt:lpstr>
      <vt:lpstr>think-cell Slide</vt:lpstr>
      <vt:lpstr>DIREZIONE REGIONALE LIGURIA  Nuova offerta Genova – Milano   ORARIO 2026</vt:lpstr>
      <vt:lpstr>Aumento offerta collegamenti Genova - Milano</vt:lpstr>
      <vt:lpstr>Nuovi servizi da e per il nodo di Milano</vt:lpstr>
      <vt:lpstr>Quadro orario completo – direzione Genova – Milano (REG, IC, FB)</vt:lpstr>
      <vt:lpstr>Quadro orario completo – direzione Milano – Genova (REG, IC, FB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CARDINALI ALESSANDRO</dc:creator>
  <cp:lastModifiedBy>VALERI MONICA</cp:lastModifiedBy>
  <cp:revision>267</cp:revision>
  <cp:lastPrinted>2025-11-25T10:18:54Z</cp:lastPrinted>
  <dcterms:created xsi:type="dcterms:W3CDTF">1601-01-01T00:00:00Z</dcterms:created>
  <dcterms:modified xsi:type="dcterms:W3CDTF">2025-11-25T10:2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713C8E1CBF8C9C478FBCA521FF5AE747</vt:lpwstr>
  </property>
  <property fmtid="{D5CDD505-2E9C-101B-9397-08002B2CF9AE}" pid="4" name="MSIP_Label_7c0cd99e-135b-4e1c-8191-9398fdabe210_Enabled">
    <vt:lpwstr>true</vt:lpwstr>
  </property>
  <property fmtid="{D5CDD505-2E9C-101B-9397-08002B2CF9AE}" pid="5" name="MSIP_Label_7c0cd99e-135b-4e1c-8191-9398fdabe210_SetDate">
    <vt:lpwstr>2024-12-18T10:04:11Z</vt:lpwstr>
  </property>
  <property fmtid="{D5CDD505-2E9C-101B-9397-08002B2CF9AE}" pid="6" name="MSIP_Label_7c0cd99e-135b-4e1c-8191-9398fdabe210_Method">
    <vt:lpwstr>Privileged</vt:lpwstr>
  </property>
  <property fmtid="{D5CDD505-2E9C-101B-9397-08002B2CF9AE}" pid="7" name="MSIP_Label_7c0cd99e-135b-4e1c-8191-9398fdabe210_Name">
    <vt:lpwstr>Confidential without footer</vt:lpwstr>
  </property>
  <property fmtid="{D5CDD505-2E9C-101B-9397-08002B2CF9AE}" pid="8" name="MSIP_Label_7c0cd99e-135b-4e1c-8191-9398fdabe210_SiteId">
    <vt:lpwstr>4c8a6547-459a-4b75-a3dc-f66efe3e9c4e</vt:lpwstr>
  </property>
  <property fmtid="{D5CDD505-2E9C-101B-9397-08002B2CF9AE}" pid="9" name="MSIP_Label_7c0cd99e-135b-4e1c-8191-9398fdabe210_ActionId">
    <vt:lpwstr>7d630adc-2a4d-4790-af05-e2cc37c0a666</vt:lpwstr>
  </property>
  <property fmtid="{D5CDD505-2E9C-101B-9397-08002B2CF9AE}" pid="10" name="MSIP_Label_7c0cd99e-135b-4e1c-8191-9398fdabe210_ContentBits">
    <vt:lpwstr>0</vt:lpwstr>
  </property>
</Properties>
</file>